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4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4"/>
    <p:sldMasterId id="2147483794" r:id="rId5"/>
    <p:sldMasterId id="2147483844" r:id="rId6"/>
    <p:sldMasterId id="2147483905" r:id="rId7"/>
  </p:sldMasterIdLst>
  <p:notesMasterIdLst>
    <p:notesMasterId r:id="rId9"/>
  </p:notesMasterIdLst>
  <p:sldIdLst>
    <p:sldId id="427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1957B02-34DF-4BB0-0607-621196044E22}" name="David.Elias" initials="Da" userId="S::david.elias@target.com::c626e45c-7beb-42a3-a943-3eee52054aa3" providerId="AD"/>
  <p188:author id="{AA58763F-7E43-13CC-ABA7-74375EC59773}" name="Heather.L.Williams" initials="HW" userId="S::Heather.L.Williams@target.com::5949e6c7-8415-4f91-be8e-0b276d0b39e0" providerId="AD"/>
  <p188:author id="{71455B4C-BE7E-1F09-2465-7623203C7517}" name="Heather.L.Williams" initials="He" userId="S::heather.l.williams@target.com::5949e6c7-8415-4f91-be8e-0b276d0b39e0" providerId="AD"/>
  <p188:author id="{72335E53-9BB8-6367-950E-8779849810B1}" name="Siddharth.Jhawar" initials="" userId="S::Siddharth.Jhawar@target.com::3ada7507-7b25-4d05-9b54-429611c4acc6" providerId="AD"/>
  <p188:author id="{5316CDB9-D5B1-81EF-F3D3-288AA11DF874}" name="Alyssa.Rach" initials="Al" userId="S::alyssa.rach@target.com::f92d55e2-c0b0-4a92-bed3-0404110c32a7" providerId="AD"/>
  <p188:author id="{4B0E12CB-DE7D-5D42-06E1-AA1026C03D6C}" name="Siddharth.Jhawar" initials="Si" userId="S::siddharth.jhawar@target.com::3ada7507-7b25-4d05-9b54-429611c4acc6" providerId="AD"/>
  <p188:author id="{040882CE-E372-AF1D-5F00-14EE8F2A06BA}" name="Jennifer.MacMenamin" initials="JM" userId="S::Jennifer.MacMenamin@target.com::e033b43c-94d9-467f-8582-68d11247d5a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A6A"/>
    <a:srgbClr val="6699FF"/>
    <a:srgbClr val="50238D"/>
    <a:srgbClr val="C55A11"/>
    <a:srgbClr val="00589A"/>
    <a:srgbClr val="004D86"/>
    <a:srgbClr val="44546A"/>
    <a:srgbClr val="002060"/>
    <a:srgbClr val="993366"/>
    <a:srgbClr val="FFC2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35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09A230-B8EF-42AD-A0CA-BEA6D28FE645}" type="datetimeFigureOut">
              <a:rPr lang="en-US" smtClean="0"/>
              <a:t>3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617DCD-C8D9-40D6-9DEF-F1B80B8C03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677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B96D12-1881-3893-6D4D-280A3DC0FD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9482C76-4FE0-B80C-F3FC-18470EC897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8544B77-17B3-9C4B-361B-707A61A485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0A15F1-65AB-997D-C73B-5525876EB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FA5CE7-B6EC-9140-AF9A-19E62CA2B8D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6963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3.xml"/><Relationship Id="rId4" Type="http://schemas.openxmlformats.org/officeDocument/2006/relationships/image" Target="../media/image2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6.xml"/><Relationship Id="rId4" Type="http://schemas.openxmlformats.org/officeDocument/2006/relationships/image" Target="../media/image4.emf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8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tif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tiff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hyperlink" Target="http://wiki.target.com/tgtwiki/images/5/57/Bullseye.bmp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5.xml"/><Relationship Id="rId4" Type="http://schemas.openxmlformats.org/officeDocument/2006/relationships/image" Target="../media/image4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7.xml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tif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tiff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hyperlink" Target="http://wiki.target.com/tgtwiki/images/5/57/Bullseye.bmp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707C9E-6E89-4C81-A3B4-1A1DBBAFDD5F}"/>
              </a:ext>
            </a:extLst>
          </p:cNvPr>
          <p:cNvSpPr/>
          <p:nvPr userDrawn="1"/>
        </p:nvSpPr>
        <p:spPr>
          <a:xfrm flipH="1">
            <a:off x="0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25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3507" y="2812768"/>
            <a:ext cx="7401464" cy="716866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3507" y="3529635"/>
            <a:ext cx="7401464" cy="716866"/>
          </a:xfrm>
          <a:prstGeom prst="rect">
            <a:avLst/>
          </a:prstGeom>
        </p:spPr>
        <p:txBody>
          <a:bodyPr vert="horz" wrap="square" lIns="91440" tIns="90000" rIns="9144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4236C51-CABF-425F-8C1E-9736D4755F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3507" y="5914042"/>
            <a:ext cx="1760537" cy="368300"/>
          </a:xfrm>
        </p:spPr>
        <p:txBody>
          <a:bodyPr lIns="90000" tIns="46800" rIns="90000" bIns="46800" anchor="ctr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MMM YYYY</a:t>
            </a:r>
          </a:p>
        </p:txBody>
      </p:sp>
    </p:spTree>
    <p:extLst>
      <p:ext uri="{BB962C8B-B14F-4D97-AF65-F5344CB8AC3E}">
        <p14:creationId xmlns:p14="http://schemas.microsoft.com/office/powerpoint/2010/main" val="344985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 bwMode="grayWhite"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49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91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69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 Gre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5817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8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874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FFFFFF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680528-B5BF-4B4C-9B51-9EE15DE76A92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035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9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 bwMode="grayWhite"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992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gray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6EC968-380D-4152-B75F-88F6E8E55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93A38F-5C68-4E3E-BC37-B1053FEC344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4" name="Freeform 310">
              <a:extLst>
                <a:ext uri="{FF2B5EF4-FFF2-40B4-BE49-F238E27FC236}">
                  <a16:creationId xmlns:a16="http://schemas.microsoft.com/office/drawing/2014/main" id="{0CD65BD5-2118-40A7-AAC6-1008D08F54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311">
              <a:extLst>
                <a:ext uri="{FF2B5EF4-FFF2-40B4-BE49-F238E27FC236}">
                  <a16:creationId xmlns:a16="http://schemas.microsoft.com/office/drawing/2014/main" id="{8F2D63A0-9C95-4F9B-804D-D435183E30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467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E4569A-9A21-4E6E-AA89-B0B329ECBAF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86622" y="1309657"/>
            <a:ext cx="745928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2F356-E787-4F32-AA15-958F3B9FF0EC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623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igh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64899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0762" y="1309657"/>
            <a:ext cx="439514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648992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750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 r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84712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7795589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50078" y="1309657"/>
            <a:ext cx="309582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7795589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959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0449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E39F91F9-6EE2-470C-99C8-C538FBB2012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7BACD9-64DD-41F0-AA7B-10944007270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009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gray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6EC968-380D-4152-B75F-88F6E8E55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93A38F-5C68-4E3E-BC37-B1053FEC344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4" name="Freeform 310">
              <a:extLst>
                <a:ext uri="{FF2B5EF4-FFF2-40B4-BE49-F238E27FC236}">
                  <a16:creationId xmlns:a16="http://schemas.microsoft.com/office/drawing/2014/main" id="{0CD65BD5-2118-40A7-AAC6-1008D08F54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311">
              <a:extLst>
                <a:ext uri="{FF2B5EF4-FFF2-40B4-BE49-F238E27FC236}">
                  <a16:creationId xmlns:a16="http://schemas.microsoft.com/office/drawing/2014/main" id="{8F2D63A0-9C95-4F9B-804D-D435183E30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124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alf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</p:spTree>
    <p:extLst>
      <p:ext uri="{BB962C8B-B14F-4D97-AF65-F5344CB8AC3E}">
        <p14:creationId xmlns:p14="http://schemas.microsoft.com/office/powerpoint/2010/main" val="325682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two thir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>
            <a:noAutofit/>
          </a:bodyPr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</p:spTree>
    <p:extLst>
      <p:ext uri="{BB962C8B-B14F-4D97-AF65-F5344CB8AC3E}">
        <p14:creationId xmlns:p14="http://schemas.microsoft.com/office/powerpoint/2010/main" val="1512481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4077B9B-BC97-4A88-95A6-46243A736D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53ECE7-81A1-45B5-93C9-C7F0DF06E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987111"/>
            <a:ext cx="2478638" cy="886397"/>
          </a:xfrm>
        </p:spPr>
        <p:txBody>
          <a:bodyPr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3D753A-38BD-407A-BEA3-9D4BD687F45F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484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71844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FBA46C7-87D8-4BF3-AA2C-2369B5BFB9A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02F98D-105E-4C3D-AF90-9E1F95F0FE4B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69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32D5B-D0F3-4AFE-A489-45E2BD2E81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24E60C-4052-43E2-B4F6-C5412F7E55D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707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09E41-02D4-4C87-8349-77E234E333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D6EFB3-65D0-412C-A9F4-039B7921B0A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88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C44BB2-A14B-4399-B206-7FBCCD9A51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44008" y="1309657"/>
            <a:ext cx="510189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F024A3-5518-4929-B2A2-00FC97E3F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2856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714AFE-8E2E-47D4-AD00-4ACD2A96ADE4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36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BCCF2D4C-0709-4116-AFCF-0B032A472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44009" y="1309657"/>
            <a:ext cx="5101896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B4BD75-5860-4C4F-A17A-9856AB183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18405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6B9648-EA0F-4FEB-AE60-6F1FD774713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815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706F-6727-49DC-8600-81CF8A69A2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4349D8A4-8B01-4C83-BDA3-A22F8E68819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4C6F12-2C2E-45D3-9EEB-0D8579C05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583A2-F170-4873-87D6-F381508D77B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064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DEC1AC-4BAF-49B4-BDBB-B75ABF8521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9">
            <a:extLst>
              <a:ext uri="{FF2B5EF4-FFF2-40B4-BE49-F238E27FC236}">
                <a16:creationId xmlns:a16="http://schemas.microsoft.com/office/drawing/2014/main" id="{F02B1CC5-2061-4C58-A93E-CC94FEF2213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8CF4CF-C180-496C-BB2A-1632AF40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3EA192-E6B5-4545-A2A0-817D571D7C0E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66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E4569A-9A21-4E6E-AA89-B0B329ECBAF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86622" y="1309657"/>
            <a:ext cx="745928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2F356-E787-4F32-AA15-958F3B9FF0EC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7418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1E69F8-09BC-4B31-ABA3-CAF955A2BAB0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39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630EEF-5B64-43FF-BCEB-7D1560165D13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085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0E9202-99A4-4857-B0DA-DE42CEBAE95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52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E7FB1EE1-C297-4B29-B064-11E2885569E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66360" y="2398675"/>
            <a:ext cx="1859280" cy="1858236"/>
            <a:chOff x="3595688" y="-3743325"/>
            <a:chExt cx="5648325" cy="5645150"/>
          </a:xfrm>
        </p:grpSpPr>
        <p:sp>
          <p:nvSpPr>
            <p:cNvPr id="8" name="Freeform 310">
              <a:extLst>
                <a:ext uri="{FF2B5EF4-FFF2-40B4-BE49-F238E27FC236}">
                  <a16:creationId xmlns:a16="http://schemas.microsoft.com/office/drawing/2014/main" id="{C59F9547-C0B4-41E2-9123-9EBED24EC8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9" name="Oval 311">
              <a:extLst>
                <a:ext uri="{FF2B5EF4-FFF2-40B4-BE49-F238E27FC236}">
                  <a16:creationId xmlns:a16="http://schemas.microsoft.com/office/drawing/2014/main" id="{0F5CC894-0FF2-4091-8ED7-A9FCFB4E19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752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7BB701-EA2F-ED46-B37E-AF3A60B991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406481-8B1B-1F42-B99F-288CBC34B5D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13058689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DE8C9739-E40E-40E8-8A1C-936AA52504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C83A26-E044-7544-A558-A2AAC815D5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717128" y="6379711"/>
            <a:ext cx="343245" cy="341765"/>
            <a:chOff x="886261" y="900779"/>
            <a:chExt cx="1655595" cy="164845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E2539FB-CDFC-6041-A254-E9E10369C123}"/>
                </a:ext>
              </a:extLst>
            </p:cNvPr>
            <p:cNvSpPr/>
            <p:nvPr/>
          </p:nvSpPr>
          <p:spPr>
            <a:xfrm>
              <a:off x="886261" y="900779"/>
              <a:ext cx="1655595" cy="1648458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3BA61D-16F4-6343-9C06-D6E2536AE0BA}"/>
                </a:ext>
              </a:extLst>
            </p:cNvPr>
            <p:cNvSpPr/>
            <p:nvPr/>
          </p:nvSpPr>
          <p:spPr>
            <a:xfrm>
              <a:off x="1175422" y="1185785"/>
              <a:ext cx="1077272" cy="1072626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35FBE14-F92F-DF4A-81DF-C0B506AEEB69}"/>
                </a:ext>
              </a:extLst>
            </p:cNvPr>
            <p:cNvSpPr/>
            <p:nvPr/>
          </p:nvSpPr>
          <p:spPr>
            <a:xfrm>
              <a:off x="1430566" y="1439830"/>
              <a:ext cx="566984" cy="564542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sp>
        <p:nvSpPr>
          <p:cNvPr id="4" name="Rectangle 3"/>
          <p:cNvSpPr/>
          <p:nvPr userDrawn="1"/>
        </p:nvSpPr>
        <p:spPr>
          <a:xfrm>
            <a:off x="444137" y="729345"/>
            <a:ext cx="11272991" cy="341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545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9E2442E-B596-4EB7-9C91-0EA33021A29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830" y="3037632"/>
            <a:ext cx="10515600" cy="64724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421053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4697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61507"/>
            <a:ext cx="5386917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buFont typeface="Arial"/>
              <a:buChar char="•"/>
              <a:defRPr sz="2400"/>
            </a:lvl1pPr>
            <a:lvl2pPr>
              <a:buClrTx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Tx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374697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61507"/>
            <a:ext cx="5389033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defRPr sz="2400"/>
            </a:lvl1pPr>
            <a:lvl2pPr>
              <a:buClrTx/>
              <a:defRPr sz="2000">
                <a:solidFill>
                  <a:srgbClr val="595959"/>
                </a:solidFill>
              </a:defRPr>
            </a:lvl2pPr>
            <a:lvl3pPr>
              <a:buClrTx/>
              <a:defRPr sz="1800">
                <a:solidFill>
                  <a:srgbClr val="7F7F7F"/>
                </a:solidFill>
              </a:defRPr>
            </a:lvl3pPr>
            <a:lvl4pPr>
              <a:buClrTx/>
              <a:defRPr sz="1600">
                <a:solidFill>
                  <a:srgbClr val="7F7F7F"/>
                </a:solidFill>
              </a:defRPr>
            </a:lvl4pPr>
            <a:lvl5pPr>
              <a:buClrTx/>
              <a:defRPr sz="1600">
                <a:solidFill>
                  <a:srgbClr val="7F7F7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69531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defRPr sz="160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accent2">
                    <a:lumMod val="1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F6A1A116-C97A-4BE0-8EED-934BA4BE9ED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0935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81766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4697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61507"/>
            <a:ext cx="5386917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buFont typeface="Arial"/>
              <a:buChar char="•"/>
              <a:defRPr sz="2400"/>
            </a:lvl1pPr>
            <a:lvl2pPr>
              <a:buClrTx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Tx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374697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61507"/>
            <a:ext cx="5389033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defRPr sz="2400"/>
            </a:lvl1pPr>
            <a:lvl2pPr>
              <a:buClrTx/>
              <a:defRPr sz="2000">
                <a:solidFill>
                  <a:srgbClr val="595959"/>
                </a:solidFill>
              </a:defRPr>
            </a:lvl2pPr>
            <a:lvl3pPr>
              <a:buClrTx/>
              <a:defRPr sz="1800">
                <a:solidFill>
                  <a:srgbClr val="7F7F7F"/>
                </a:solidFill>
              </a:defRPr>
            </a:lvl3pPr>
            <a:lvl4pPr>
              <a:buClrTx/>
              <a:defRPr sz="1600">
                <a:solidFill>
                  <a:srgbClr val="7F7F7F"/>
                </a:solidFill>
              </a:defRPr>
            </a:lvl4pPr>
            <a:lvl5pPr>
              <a:buClrTx/>
              <a:defRPr sz="1600">
                <a:solidFill>
                  <a:srgbClr val="7F7F7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5859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igh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64899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0762" y="1309657"/>
            <a:ext cx="439514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648992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666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EEE2E-17B6-DD43-9C43-978012F7A8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3657B6-F18B-234D-9583-AA27E3A2DB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1F8228-13CF-AE4F-B0A4-E297CC119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E1B1-946B-FB49-95D8-83638CE5C1EF}" type="datetimeFigureOut">
              <a:rPr lang="en-US" smtClean="0"/>
              <a:t>3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E4FE3A-08E5-8B41-BD54-BC17267BC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F9E82C-6E56-B944-9893-CDCC61D57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D9F8A-389B-F84B-AF9D-C2A54BCB72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1467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711200" y="914400"/>
            <a:ext cx="10871200" cy="53340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DE8C9739-E40E-40E8-8A1C-936AA52504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C83A26-E044-7544-A558-A2AAC815D5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717128" y="6379711"/>
            <a:ext cx="343245" cy="341765"/>
            <a:chOff x="886261" y="900779"/>
            <a:chExt cx="1655595" cy="164845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E2539FB-CDFC-6041-A254-E9E10369C123}"/>
                </a:ext>
              </a:extLst>
            </p:cNvPr>
            <p:cNvSpPr/>
            <p:nvPr/>
          </p:nvSpPr>
          <p:spPr>
            <a:xfrm>
              <a:off x="886261" y="900779"/>
              <a:ext cx="1655595" cy="1648458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3BA61D-16F4-6343-9C06-D6E2536AE0BA}"/>
                </a:ext>
              </a:extLst>
            </p:cNvPr>
            <p:cNvSpPr/>
            <p:nvPr/>
          </p:nvSpPr>
          <p:spPr>
            <a:xfrm>
              <a:off x="1175422" y="1185785"/>
              <a:ext cx="1077272" cy="1072626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35FBE14-F92F-DF4A-81DF-C0B506AEEB69}"/>
                </a:ext>
              </a:extLst>
            </p:cNvPr>
            <p:cNvSpPr/>
            <p:nvPr/>
          </p:nvSpPr>
          <p:spPr>
            <a:xfrm>
              <a:off x="1430566" y="1439830"/>
              <a:ext cx="566984" cy="564542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0463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3374" y="100092"/>
            <a:ext cx="647247" cy="64724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A1A116-C97A-4BE0-8EED-934BA4BE9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8000" y="100092"/>
            <a:ext cx="10515600" cy="64724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08000" y="873818"/>
            <a:ext cx="10515600" cy="43513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defRPr sz="160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8000" y="755051"/>
            <a:ext cx="1082127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47348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3374" y="100092"/>
            <a:ext cx="647247" cy="64724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A1A116-C97A-4BE0-8EED-934BA4BE9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8000" y="100092"/>
            <a:ext cx="5156530" cy="64724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93206" y="755051"/>
            <a:ext cx="1082127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2485C33-3EDB-E1BE-616B-F41A779A4C1A}"/>
              </a:ext>
            </a:extLst>
          </p:cNvPr>
          <p:cNvSpPr/>
          <p:nvPr userDrawn="1"/>
        </p:nvSpPr>
        <p:spPr>
          <a:xfrm>
            <a:off x="5874103" y="1525878"/>
            <a:ext cx="1543215" cy="4655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1335A7-6A7A-B2C4-26CD-9AEDFD23C365}"/>
              </a:ext>
            </a:extLst>
          </p:cNvPr>
          <p:cNvSpPr txBox="1"/>
          <p:nvPr userDrawn="1"/>
        </p:nvSpPr>
        <p:spPr>
          <a:xfrm>
            <a:off x="1379573" y="903902"/>
            <a:ext cx="44763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Key Outcom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74C1BB-DBED-B802-789B-C58E0DE0A5FA}"/>
              </a:ext>
            </a:extLst>
          </p:cNvPr>
          <p:cNvSpPr txBox="1"/>
          <p:nvPr userDrawn="1"/>
        </p:nvSpPr>
        <p:spPr>
          <a:xfrm>
            <a:off x="7409714" y="981593"/>
            <a:ext cx="155306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Execution Confidence</a:t>
            </a:r>
          </a:p>
          <a:p>
            <a:pPr algn="ctr"/>
            <a:r>
              <a:rPr lang="en-US" sz="600"/>
              <a:t>(</a:t>
            </a:r>
            <a:r>
              <a:rPr lang="en-US" sz="600" i="1"/>
              <a:t>to deliver the work</a:t>
            </a:r>
            <a:r>
              <a:rPr lang="en-US" sz="600"/>
              <a:t>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F42E3-0BB5-5CB4-AA25-75727345FBBD}"/>
              </a:ext>
            </a:extLst>
          </p:cNvPr>
          <p:cNvCxnSpPr>
            <a:cxnSpLocks/>
          </p:cNvCxnSpPr>
          <p:nvPr userDrawn="1"/>
        </p:nvCxnSpPr>
        <p:spPr>
          <a:xfrm flipV="1">
            <a:off x="1386239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978CD73-AF2B-FED5-6E17-BA118CDE8CB0}"/>
              </a:ext>
            </a:extLst>
          </p:cNvPr>
          <p:cNvSpPr txBox="1"/>
          <p:nvPr userDrawn="1"/>
        </p:nvSpPr>
        <p:spPr>
          <a:xfrm>
            <a:off x="5862594" y="981593"/>
            <a:ext cx="15606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Impact Confidence</a:t>
            </a:r>
          </a:p>
          <a:p>
            <a:pPr algn="ctr"/>
            <a:r>
              <a:rPr lang="en-US" sz="600"/>
              <a:t>(</a:t>
            </a:r>
            <a:r>
              <a:rPr lang="en-US" sz="600" i="1"/>
              <a:t>for deliverables to achieve KRs</a:t>
            </a:r>
            <a:r>
              <a:rPr lang="en-US" sz="600"/>
              <a:t>)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EF43CA-BD20-6069-AC69-86059B684A36}"/>
              </a:ext>
            </a:extLst>
          </p:cNvPr>
          <p:cNvGrpSpPr/>
          <p:nvPr userDrawn="1"/>
        </p:nvGrpSpPr>
        <p:grpSpPr>
          <a:xfrm>
            <a:off x="5811290" y="1712564"/>
            <a:ext cx="1645920" cy="206277"/>
            <a:chOff x="6321843" y="1469574"/>
            <a:chExt cx="2180787" cy="20627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2827F2C-5B93-7BE9-B5E6-28A7556D8C2D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4884E03-960B-FD11-4BD1-7EB6F1E284FE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694670-0DB2-8DFC-0499-68903C620A8E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282631B-85AA-1309-5D30-5E65EDBBEFCF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692C6D1-EC69-366C-04D0-EA0A73ADA8E4}"/>
              </a:ext>
            </a:extLst>
          </p:cNvPr>
          <p:cNvGrpSpPr/>
          <p:nvPr userDrawn="1"/>
        </p:nvGrpSpPr>
        <p:grpSpPr>
          <a:xfrm>
            <a:off x="5811291" y="2316186"/>
            <a:ext cx="1645920" cy="206277"/>
            <a:chOff x="6321843" y="1469574"/>
            <a:chExt cx="2180787" cy="206277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299741D-41D1-04B3-D8BC-DF9B19537A31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F485BC5-CF64-0585-3CDE-7CE3D0223B0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D20DFD7E-9659-8CB8-AFBB-D5237F52A6E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5656FA6-2673-8A69-D62E-C2584FDC92D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2AA19E3-B784-874E-DD33-3BC5FF8D4EAF}"/>
              </a:ext>
            </a:extLst>
          </p:cNvPr>
          <p:cNvGrpSpPr/>
          <p:nvPr userDrawn="1"/>
        </p:nvGrpSpPr>
        <p:grpSpPr>
          <a:xfrm>
            <a:off x="5811291" y="2977357"/>
            <a:ext cx="1645920" cy="206277"/>
            <a:chOff x="6321843" y="1469574"/>
            <a:chExt cx="2180787" cy="206277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81E6011-5FE3-3ACF-335A-2586C2363086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BA42621B-D8B3-B3F9-B2CD-7741488A4500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570DAAE8-CD80-58CA-2842-945C19300A0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D88473C-A8E9-B04E-DEF1-DEF9CDC727B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0B0FE30-F29E-130E-AA2F-6E4862C22D4D}"/>
              </a:ext>
            </a:extLst>
          </p:cNvPr>
          <p:cNvGrpSpPr/>
          <p:nvPr userDrawn="1"/>
        </p:nvGrpSpPr>
        <p:grpSpPr>
          <a:xfrm>
            <a:off x="5818038" y="3614007"/>
            <a:ext cx="1645920" cy="206277"/>
            <a:chOff x="6321843" y="1469574"/>
            <a:chExt cx="2180787" cy="206277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9E669501-2A68-8729-8862-45B0DE247BDA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C214CBC-C798-E09E-BE8B-3986A0D3945B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FF1E71ED-F5C0-D946-BFBE-ED3D2BC9D7D3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8AB18E8-7781-D7C2-7192-1B9A353D965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A274E8A-5B08-9E65-EC4C-46DD6B872323}"/>
              </a:ext>
            </a:extLst>
          </p:cNvPr>
          <p:cNvGrpSpPr/>
          <p:nvPr userDrawn="1"/>
        </p:nvGrpSpPr>
        <p:grpSpPr>
          <a:xfrm>
            <a:off x="5811291" y="4324984"/>
            <a:ext cx="1645920" cy="206277"/>
            <a:chOff x="6321843" y="1469574"/>
            <a:chExt cx="2180787" cy="206277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301F10C-8B0A-3782-2D24-8937184C388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9A1DA43D-A569-F4CB-5627-7CFF7968819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D1EA11CE-B336-8F10-951C-3DD8F26734F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64EC8384-F1B0-C61E-1A00-B7C46C1C14B5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2CCAFF6-98C9-5C9D-377B-200885DFF932}"/>
              </a:ext>
            </a:extLst>
          </p:cNvPr>
          <p:cNvGrpSpPr/>
          <p:nvPr userDrawn="1"/>
        </p:nvGrpSpPr>
        <p:grpSpPr>
          <a:xfrm>
            <a:off x="5824785" y="5018187"/>
            <a:ext cx="1645920" cy="206277"/>
            <a:chOff x="6321843" y="1469574"/>
            <a:chExt cx="2180787" cy="206277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95987DEF-2297-E5A4-3811-79502373C8EF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F009E86-4A6C-D96A-349E-7D81022666F3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B187F549-F6C6-BF9A-4AA0-50D4910330DF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D4D2720-2E3D-6C88-9119-0A50DD94115A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5FE0E31F-4038-FE24-C155-0AE458185098}"/>
              </a:ext>
            </a:extLst>
          </p:cNvPr>
          <p:cNvSpPr/>
          <p:nvPr userDrawn="1"/>
        </p:nvSpPr>
        <p:spPr>
          <a:xfrm>
            <a:off x="7424143" y="1525879"/>
            <a:ext cx="1545336" cy="465531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580BF33-A971-FA38-08C0-644361CCAC75}"/>
              </a:ext>
            </a:extLst>
          </p:cNvPr>
          <p:cNvGrpSpPr/>
          <p:nvPr userDrawn="1"/>
        </p:nvGrpSpPr>
        <p:grpSpPr>
          <a:xfrm>
            <a:off x="7369200" y="1712564"/>
            <a:ext cx="1645920" cy="206277"/>
            <a:chOff x="6321843" y="1469574"/>
            <a:chExt cx="2180787" cy="206277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940511B3-9649-545D-1F56-8A322DACF23F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A8FD6679-03E2-723A-1ADE-DCB12A354AD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D67E8602-88ED-A932-6551-5BEB01088506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FB23E23-8718-DB54-FA3A-0983F1A3B156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937FBAEB-3402-9FF0-C18A-4E964D075378}"/>
              </a:ext>
            </a:extLst>
          </p:cNvPr>
          <p:cNvGrpSpPr/>
          <p:nvPr userDrawn="1"/>
        </p:nvGrpSpPr>
        <p:grpSpPr>
          <a:xfrm>
            <a:off x="7369200" y="2316186"/>
            <a:ext cx="1645920" cy="206277"/>
            <a:chOff x="6321843" y="1469574"/>
            <a:chExt cx="2180787" cy="206277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B01DFB25-568E-7965-D978-FBFFA2F6AD94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0ACE8EB8-48D0-10B5-EBAA-5522A539CEE2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18901F8B-59E5-2DDC-F8A0-5385C72D1D2B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66ECF01F-11FB-ACEA-8D5D-2ED966FA23C0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EF6517B-B964-AFB1-E0F2-0CF93C2438B0}"/>
              </a:ext>
            </a:extLst>
          </p:cNvPr>
          <p:cNvGrpSpPr/>
          <p:nvPr userDrawn="1"/>
        </p:nvGrpSpPr>
        <p:grpSpPr>
          <a:xfrm>
            <a:off x="7369200" y="2977357"/>
            <a:ext cx="1645920" cy="206277"/>
            <a:chOff x="6321843" y="1469574"/>
            <a:chExt cx="2180787" cy="206277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9BC6BEA8-6CB3-1073-C85E-8BCBD1E04C26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1600FE5C-A613-AC27-B843-FD84D4B9A75A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CFED4D43-A47A-0C6C-8A30-FAC1B4891BAE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137D317-7E4C-1D55-D5F1-307ECEEB0EF1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53A284B-C77E-95F9-ECCB-3FA967BCBA09}"/>
              </a:ext>
            </a:extLst>
          </p:cNvPr>
          <p:cNvGrpSpPr/>
          <p:nvPr userDrawn="1"/>
        </p:nvGrpSpPr>
        <p:grpSpPr>
          <a:xfrm>
            <a:off x="7375947" y="3614007"/>
            <a:ext cx="1645920" cy="206277"/>
            <a:chOff x="6321843" y="1469574"/>
            <a:chExt cx="2180787" cy="206277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549E29F3-A277-F0F7-B590-708896F7766D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E4B151D5-C689-35E4-5666-82EE905E3B66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ED961206-8947-A8BF-9C58-A5E71E5D43D1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74A61E4D-A83B-0E7E-6186-2F1EFBFCC95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D23788A-DFF0-FABD-CD10-AFB5753F76D0}"/>
              </a:ext>
            </a:extLst>
          </p:cNvPr>
          <p:cNvGrpSpPr/>
          <p:nvPr userDrawn="1"/>
        </p:nvGrpSpPr>
        <p:grpSpPr>
          <a:xfrm>
            <a:off x="7369200" y="4324984"/>
            <a:ext cx="1645920" cy="206277"/>
            <a:chOff x="6321843" y="1469574"/>
            <a:chExt cx="2180787" cy="206277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978C66A-0B3F-EDB6-8D29-F609C62B7672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59FC3D5B-A130-4592-C972-600C99A44BF0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77F2CBCC-CB98-6614-FDF1-23126BEF2A8C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58547B8C-2773-F3E5-8686-99C01CEB1CBE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B9BD0398-C518-9642-D73E-5717D548854C}"/>
              </a:ext>
            </a:extLst>
          </p:cNvPr>
          <p:cNvGrpSpPr/>
          <p:nvPr userDrawn="1"/>
        </p:nvGrpSpPr>
        <p:grpSpPr>
          <a:xfrm>
            <a:off x="7382694" y="5018187"/>
            <a:ext cx="1645920" cy="206277"/>
            <a:chOff x="6321843" y="1469574"/>
            <a:chExt cx="2180787" cy="206277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68DB329C-844F-71A0-571E-8C0746C684E8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21543D80-C8C1-B3EF-8F30-F4C50B38E1B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0510D48F-C659-BE3F-8A6C-30266FEAEBA9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26774816-9197-5DEC-C85C-B94F9A8ED931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6382203-F0CA-C068-7046-7137E772AA79}"/>
              </a:ext>
            </a:extLst>
          </p:cNvPr>
          <p:cNvCxnSpPr>
            <a:cxnSpLocks/>
          </p:cNvCxnSpPr>
          <p:nvPr userDrawn="1"/>
        </p:nvCxnSpPr>
        <p:spPr>
          <a:xfrm flipH="1">
            <a:off x="493206" y="2107450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DD41CC8-4E09-9A12-6C4A-14140E5C070A}"/>
              </a:ext>
            </a:extLst>
          </p:cNvPr>
          <p:cNvCxnSpPr>
            <a:cxnSpLocks/>
          </p:cNvCxnSpPr>
          <p:nvPr userDrawn="1"/>
        </p:nvCxnSpPr>
        <p:spPr>
          <a:xfrm flipV="1">
            <a:off x="1407606" y="3433231"/>
            <a:ext cx="987552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CD05C3-6236-3BEA-4F92-87D5B9F30727}"/>
              </a:ext>
            </a:extLst>
          </p:cNvPr>
          <p:cNvCxnSpPr>
            <a:cxnSpLocks/>
          </p:cNvCxnSpPr>
          <p:nvPr userDrawn="1"/>
        </p:nvCxnSpPr>
        <p:spPr>
          <a:xfrm flipV="1">
            <a:off x="1379573" y="4772327"/>
            <a:ext cx="987552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D9B7C14C-7C74-87A2-C505-903063F421D1}"/>
              </a:ext>
            </a:extLst>
          </p:cNvPr>
          <p:cNvSpPr txBox="1"/>
          <p:nvPr userDrawn="1"/>
        </p:nvSpPr>
        <p:spPr>
          <a:xfrm>
            <a:off x="8978430" y="981593"/>
            <a:ext cx="233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Call Ou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/>
              <a:t>(</a:t>
            </a:r>
            <a:r>
              <a:rPr lang="en-US" sz="700" i="1"/>
              <a:t>related to outcomes &amp; confidence</a:t>
            </a:r>
            <a:r>
              <a:rPr lang="en-US" sz="700"/>
              <a:t>)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5CA9D27-F2F9-DB50-ED13-514D9987055F}"/>
              </a:ext>
            </a:extLst>
          </p:cNvPr>
          <p:cNvSpPr txBox="1"/>
          <p:nvPr userDrawn="1"/>
        </p:nvSpPr>
        <p:spPr>
          <a:xfrm>
            <a:off x="471248" y="1497197"/>
            <a:ext cx="877283" cy="5078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/>
              <a:t>Site Experience Evolutio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60EE630-47EE-895D-0215-252D662F14D6}"/>
              </a:ext>
            </a:extLst>
          </p:cNvPr>
          <p:cNvSpPr txBox="1"/>
          <p:nvPr userDrawn="1"/>
        </p:nvSpPr>
        <p:spPr>
          <a:xfrm>
            <a:off x="471248" y="3321185"/>
            <a:ext cx="8782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Marketplac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1D811CD-6F21-39E7-FBBE-EB73ACF763F9}"/>
              </a:ext>
            </a:extLst>
          </p:cNvPr>
          <p:cNvSpPr txBox="1"/>
          <p:nvPr userDrawn="1"/>
        </p:nvSpPr>
        <p:spPr>
          <a:xfrm>
            <a:off x="471248" y="2252360"/>
            <a:ext cx="9216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Site Merch 2.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F6DD47-EC1D-E5C2-4F23-AF08C1AB5A14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2763392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1174BDB-190F-97A9-DDF3-5A9F5291C383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4099227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0B21114-30B5-C9EB-C122-41D465E382AF}"/>
              </a:ext>
            </a:extLst>
          </p:cNvPr>
          <p:cNvSpPr txBox="1"/>
          <p:nvPr userDrawn="1"/>
        </p:nvSpPr>
        <p:spPr>
          <a:xfrm>
            <a:off x="471248" y="4646635"/>
            <a:ext cx="8643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Roun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71D9A7-9C39-00D3-9E40-4CA8FF29F566}"/>
              </a:ext>
            </a:extLst>
          </p:cNvPr>
          <p:cNvSpPr txBox="1"/>
          <p:nvPr userDrawn="1"/>
        </p:nvSpPr>
        <p:spPr>
          <a:xfrm>
            <a:off x="0" y="6532081"/>
            <a:ext cx="1219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C00000"/>
                </a:solidFill>
              </a:rPr>
              <a:t>CONFIDENTIAL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F5029D5-1F6F-009D-1439-D43E2DCFE3EC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439231" y="1201078"/>
          <a:ext cx="344893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9787">
                  <a:extLst>
                    <a:ext uri="{9D8B030D-6E8A-4147-A177-3AD203B41FA5}">
                      <a16:colId xmlns:a16="http://schemas.microsoft.com/office/drawing/2014/main" val="1663697451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3390690125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3314898269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1180691790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17221377"/>
                    </a:ext>
                  </a:extLst>
                </a:gridCol>
              </a:tblGrid>
              <a:tr h="202970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Y2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08455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2298E1D-5AB7-4B4A-FD89-F9035E8C84D0}"/>
              </a:ext>
            </a:extLst>
          </p:cNvPr>
          <p:cNvCxnSpPr>
            <a:cxnSpLocks/>
          </p:cNvCxnSpPr>
          <p:nvPr userDrawn="1"/>
        </p:nvCxnSpPr>
        <p:spPr>
          <a:xfrm flipV="1">
            <a:off x="3134357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6B41B55-BD75-D107-D1A1-3340995BA8E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2686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830B1BB-152C-CD86-2D4B-FB972D09884C}"/>
              </a:ext>
            </a:extLst>
          </p:cNvPr>
          <p:cNvCxnSpPr>
            <a:cxnSpLocks/>
          </p:cNvCxnSpPr>
          <p:nvPr userDrawn="1"/>
        </p:nvCxnSpPr>
        <p:spPr>
          <a:xfrm flipV="1">
            <a:off x="450894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4812F9D-E87D-2187-DCD5-3147425AEE7E}"/>
              </a:ext>
            </a:extLst>
          </p:cNvPr>
          <p:cNvCxnSpPr>
            <a:cxnSpLocks/>
          </p:cNvCxnSpPr>
          <p:nvPr userDrawn="1"/>
        </p:nvCxnSpPr>
        <p:spPr>
          <a:xfrm flipV="1">
            <a:off x="518727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83D34D5-7F8B-336C-2BC2-27189B6521D8}"/>
              </a:ext>
            </a:extLst>
          </p:cNvPr>
          <p:cNvCxnSpPr>
            <a:cxnSpLocks/>
          </p:cNvCxnSpPr>
          <p:nvPr userDrawn="1"/>
        </p:nvCxnSpPr>
        <p:spPr>
          <a:xfrm flipV="1">
            <a:off x="242791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1C6328E-7F49-3798-738C-694A764526D1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5457457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DE07A30E-A25F-B781-4E7B-2173EECE7353}"/>
              </a:ext>
            </a:extLst>
          </p:cNvPr>
          <p:cNvSpPr txBox="1"/>
          <p:nvPr userDrawn="1"/>
        </p:nvSpPr>
        <p:spPr>
          <a:xfrm>
            <a:off x="471248" y="5668571"/>
            <a:ext cx="849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Guest-Led</a:t>
            </a:r>
          </a:p>
          <a:p>
            <a:r>
              <a:rPr lang="en-US" sz="900" b="1"/>
              <a:t>Fulfillmen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4A4BE62-C23E-D811-CD07-027428A95A8D}"/>
              </a:ext>
            </a:extLst>
          </p:cNvPr>
          <p:cNvGrpSpPr/>
          <p:nvPr userDrawn="1"/>
        </p:nvGrpSpPr>
        <p:grpSpPr>
          <a:xfrm>
            <a:off x="5833752" y="5696510"/>
            <a:ext cx="1645920" cy="206277"/>
            <a:chOff x="6321843" y="1469574"/>
            <a:chExt cx="2180787" cy="20627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036C178-B71B-9D18-A2C0-2FE422D6DF9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AC07CC0-6AA6-8FB6-D152-82C3F1081B5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9CDCAB3-A7F4-4EB0-EE38-00FFC5D9155D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576B367-811E-2E64-2D88-13109B807E30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2D7662E-6214-3F62-9070-F4F95D2BA7D0}"/>
              </a:ext>
            </a:extLst>
          </p:cNvPr>
          <p:cNvGrpSpPr/>
          <p:nvPr userDrawn="1"/>
        </p:nvGrpSpPr>
        <p:grpSpPr>
          <a:xfrm>
            <a:off x="7391661" y="5696510"/>
            <a:ext cx="1645920" cy="206277"/>
            <a:chOff x="6321843" y="1469574"/>
            <a:chExt cx="2180787" cy="20627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6DD95E0-A7D0-6F6F-2719-F4F7237A80E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BA9DEEAE-92C9-9A98-2F9C-58F802B3841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2D51AD84-62A2-CDAE-D566-214BB586EC14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F8736EA-EB65-B93D-F2F4-CF12C0C87B5A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741CF30-89C6-267C-8446-C9B5FF07170E}"/>
              </a:ext>
            </a:extLst>
          </p:cNvPr>
          <p:cNvGrpSpPr/>
          <p:nvPr userDrawn="1"/>
        </p:nvGrpSpPr>
        <p:grpSpPr>
          <a:xfrm>
            <a:off x="6688324" y="161039"/>
            <a:ext cx="1193693" cy="440841"/>
            <a:chOff x="6688324" y="161039"/>
            <a:chExt cx="1193693" cy="440841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863B66A4-9761-B531-5FCE-E4D65C3C861B}"/>
                </a:ext>
              </a:extLst>
            </p:cNvPr>
            <p:cNvSpPr/>
            <p:nvPr userDrawn="1"/>
          </p:nvSpPr>
          <p:spPr>
            <a:xfrm rot="10800000">
              <a:off x="7604779" y="250976"/>
              <a:ext cx="182880" cy="9144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8E151AD6-A8DE-DA8E-A6C0-AE5C420F5802}"/>
                </a:ext>
              </a:extLst>
            </p:cNvPr>
            <p:cNvSpPr/>
            <p:nvPr userDrawn="1"/>
          </p:nvSpPr>
          <p:spPr>
            <a:xfrm>
              <a:off x="7611341" y="411890"/>
              <a:ext cx="182880" cy="91440"/>
            </a:xfrm>
            <a:prstGeom prst="triangle">
              <a:avLst/>
            </a:prstGeom>
            <a:solidFill>
              <a:srgbClr val="FBC7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  <p:sp>
          <p:nvSpPr>
            <p:cNvPr id="32" name="TextBox 15">
              <a:extLst>
                <a:ext uri="{FF2B5EF4-FFF2-40B4-BE49-F238E27FC236}">
                  <a16:creationId xmlns:a16="http://schemas.microsoft.com/office/drawing/2014/main" id="{748EA1B9-5C55-EFDD-FCBB-53876A423762}"/>
                </a:ext>
              </a:extLst>
            </p:cNvPr>
            <p:cNvSpPr txBox="1"/>
            <p:nvPr userDrawn="1"/>
          </p:nvSpPr>
          <p:spPr>
            <a:xfrm>
              <a:off x="6688324" y="189726"/>
              <a:ext cx="939583" cy="215444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800">
                  <a:cs typeface="Arial"/>
                </a:rPr>
                <a:t>This month</a:t>
              </a:r>
              <a:endParaRPr lang="en-US" sz="800"/>
            </a:p>
          </p:txBody>
        </p:sp>
        <p:sp>
          <p:nvSpPr>
            <p:cNvPr id="33" name="TextBox 30">
              <a:extLst>
                <a:ext uri="{FF2B5EF4-FFF2-40B4-BE49-F238E27FC236}">
                  <a16:creationId xmlns:a16="http://schemas.microsoft.com/office/drawing/2014/main" id="{587CD303-791F-9A40-FA39-DD9890B57607}"/>
                </a:ext>
              </a:extLst>
            </p:cNvPr>
            <p:cNvSpPr txBox="1"/>
            <p:nvPr userDrawn="1"/>
          </p:nvSpPr>
          <p:spPr>
            <a:xfrm>
              <a:off x="6701238" y="366233"/>
              <a:ext cx="939583" cy="215444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800">
                  <a:cs typeface="Arial"/>
                </a:rPr>
                <a:t>Last month</a:t>
              </a:r>
              <a:endParaRPr lang="en-US" sz="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A7120BE-C507-4D2A-2A65-3C1745DBF9EA}"/>
                </a:ext>
              </a:extLst>
            </p:cNvPr>
            <p:cNvSpPr/>
            <p:nvPr userDrawn="1"/>
          </p:nvSpPr>
          <p:spPr>
            <a:xfrm>
              <a:off x="6890126" y="161039"/>
              <a:ext cx="991891" cy="440841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3562911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lide_Red_w/Bullseye">
    <p:bg>
      <p:bgPr>
        <a:solidFill>
          <a:srgbClr val="CC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BE37D0DC-793B-8346-8998-C18152D0A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602374"/>
            <a:ext cx="7629144" cy="788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xpressive headline.</a:t>
            </a:r>
          </a:p>
        </p:txBody>
      </p:sp>
      <p:sp>
        <p:nvSpPr>
          <p:cNvPr id="7" name="Sub-headline">
            <a:extLst>
              <a:ext uri="{FF2B5EF4-FFF2-40B4-BE49-F238E27FC236}">
                <a16:creationId xmlns:a16="http://schemas.microsoft.com/office/drawing/2014/main" id="{E8562A5F-6D80-814C-9FEB-683F199A40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280" y="3407488"/>
            <a:ext cx="7629461" cy="731520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headline.</a:t>
            </a:r>
          </a:p>
        </p:txBody>
      </p:sp>
      <p:grpSp>
        <p:nvGrpSpPr>
          <p:cNvPr id="8" name="Bullseye logo">
            <a:extLst>
              <a:ext uri="{FF2B5EF4-FFF2-40B4-BE49-F238E27FC236}">
                <a16:creationId xmlns:a16="http://schemas.microsoft.com/office/drawing/2014/main" id="{77247702-9C8E-D841-88B5-096A65CD305D}"/>
              </a:ext>
            </a:extLst>
          </p:cNvPr>
          <p:cNvGrpSpPr>
            <a:grpSpLocks noChangeAspect="1"/>
          </p:cNvGrpSpPr>
          <p:nvPr/>
        </p:nvGrpSpPr>
        <p:grpSpPr>
          <a:xfrm>
            <a:off x="11038332" y="347599"/>
            <a:ext cx="800100" cy="800100"/>
            <a:chOff x="1875472" y="1354455"/>
            <a:chExt cx="3200400" cy="3200400"/>
          </a:xfrm>
          <a:solidFill>
            <a:schemeClr val="bg1"/>
          </a:solidFill>
        </p:grpSpPr>
        <p:sp>
          <p:nvSpPr>
            <p:cNvPr id="9" name="Donut 8">
              <a:extLst>
                <a:ext uri="{FF2B5EF4-FFF2-40B4-BE49-F238E27FC236}">
                  <a16:creationId xmlns:a16="http://schemas.microsoft.com/office/drawing/2014/main" id="{5C4D4FF2-C003-A344-AA53-4311B30C6944}"/>
                </a:ext>
              </a:extLst>
            </p:cNvPr>
            <p:cNvSpPr/>
            <p:nvPr/>
          </p:nvSpPr>
          <p:spPr bwMode="auto">
            <a:xfrm>
              <a:off x="1875472" y="1354455"/>
              <a:ext cx="3200400" cy="3200400"/>
            </a:xfrm>
            <a:prstGeom prst="donut">
              <a:avLst>
                <a:gd name="adj" fmla="val 1694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D71B32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7DCE62B-4B6B-5F4B-A9E8-41B26ED88F5D}"/>
                </a:ext>
              </a:extLst>
            </p:cNvPr>
            <p:cNvSpPr/>
            <p:nvPr/>
          </p:nvSpPr>
          <p:spPr bwMode="auto">
            <a:xfrm>
              <a:off x="2930922" y="2409905"/>
              <a:ext cx="1089500" cy="10895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D71B32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664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ine 5"/>
          <p:cNvSpPr>
            <a:spLocks noChangeShapeType="1"/>
          </p:cNvSpPr>
          <p:nvPr/>
        </p:nvSpPr>
        <p:spPr bwMode="auto">
          <a:xfrm>
            <a:off x="1041400" y="304800"/>
            <a:ext cx="0" cy="6096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</p:spPr>
        <p:txBody>
          <a:bodyPr wrap="none" lIns="93276" tIns="46638" rIns="93276" bIns="46638" anchor="ctr"/>
          <a:lstStyle/>
          <a:p>
            <a:pPr algn="ctr" defTabSz="91430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charset="0"/>
              <a:buNone/>
              <a:defRPr/>
            </a:pPr>
            <a:endParaRPr lang="en-US" sz="1200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11684000" y="6629400"/>
            <a:ext cx="508000" cy="228600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>
                    <a:tint val="7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636378F1-B69B-48E8-B66D-7723761A25C3}" type="slidenum">
              <a:rPr lang="en-US" sz="1000" smtClean="0"/>
              <a:pPr>
                <a:defRPr/>
              </a:pPr>
              <a:t>‹#›</a:t>
            </a:fld>
            <a:endParaRPr lang="en-US" sz="1050"/>
          </a:p>
        </p:txBody>
      </p:sp>
      <p:pic>
        <p:nvPicPr>
          <p:cNvPr id="6" name="Picture 2" descr="File:Bullseye.bmp">
            <a:hlinkClick r:id="rId6"/>
          </p:cNvPr>
          <p:cNvPicPr>
            <a:picLocks noChangeArrowheads="1"/>
          </p:cNvPicPr>
          <p:nvPr/>
        </p:nvPicPr>
        <p:blipFill>
          <a:blip r:embed="rId7" cstate="print"/>
          <a:srcRect l="18478" t="18478" r="18117" b="18117"/>
          <a:stretch>
            <a:fillRect/>
          </a:stretch>
        </p:blipFill>
        <p:spPr bwMode="auto">
          <a:xfrm>
            <a:off x="228600" y="220980"/>
            <a:ext cx="731520" cy="73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381000"/>
            <a:ext cx="10058400" cy="427038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684000" y="6629400"/>
            <a:ext cx="508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>
                    <a:tint val="75000"/>
                  </a:schemeClr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401C0-D300-4221-A8FA-5EEE00F7BB53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43000" y="838200"/>
            <a:ext cx="10058400" cy="228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6630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">
            <a:extLst>
              <a:ext uri="{FF2B5EF4-FFF2-40B4-BE49-F238E27FC236}">
                <a16:creationId xmlns:a16="http://schemas.microsoft.com/office/drawing/2014/main" id="{B9C9B7B6-1D5C-0647-B4C9-CDFD893D19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346838"/>
            <a:ext cx="7629144" cy="74237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/>
              <a:t>expressive headline.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8562A5F-6D80-814C-9FEB-683F199A40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16108"/>
            <a:ext cx="7629461" cy="731520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rgbClr val="333333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headline.</a:t>
            </a:r>
          </a:p>
        </p:txBody>
      </p:sp>
    </p:spTree>
    <p:extLst>
      <p:ext uri="{BB962C8B-B14F-4D97-AF65-F5344CB8AC3E}">
        <p14:creationId xmlns:p14="http://schemas.microsoft.com/office/powerpoint/2010/main" val="53854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alf_Red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d background">
            <a:extLst>
              <a:ext uri="{FF2B5EF4-FFF2-40B4-BE49-F238E27FC236}">
                <a16:creationId xmlns:a16="http://schemas.microsoft.com/office/drawing/2014/main" id="{172979C2-2E30-8744-BF53-AACC51F9FF1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CC0000"/>
          </a:solidFill>
          <a:ln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8DF25E-EC57-174E-91AE-96F933A00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706751"/>
            <a:ext cx="5636069" cy="731520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big thought.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EE4743EC-D541-B047-AA40-47C4622F17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280" y="3438271"/>
            <a:ext cx="5636069" cy="73152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big thought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60676DF-D5A1-9A47-83F3-D2C9577DFC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64924" y="2057400"/>
            <a:ext cx="4900246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18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lang="en-US" sz="16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996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 r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84712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7795589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50078" y="1309657"/>
            <a:ext cx="309582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7795589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3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one third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84712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7795589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50078" y="1309657"/>
            <a:ext cx="309582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7795589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883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one third right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84712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7795589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50078" y="1309657"/>
            <a:ext cx="309582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7795589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224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0449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E39F91F9-6EE2-470C-99C8-C538FBB2012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7BACD9-64DD-41F0-AA7B-10944007270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2625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one thir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0449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E39F91F9-6EE2-470C-99C8-C538FBB2012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7BACD9-64DD-41F0-AA7B-10944007270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636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one third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0449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E39F91F9-6EE2-470C-99C8-C538FBB2012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7BACD9-64DD-41F0-AA7B-10944007270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380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038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Line 62"/>
          <p:cNvSpPr>
            <a:spLocks noChangeShapeType="1"/>
          </p:cNvSpPr>
          <p:nvPr userDrawn="1"/>
        </p:nvSpPr>
        <p:spPr bwMode="auto">
          <a:xfrm>
            <a:off x="3592142" y="3716867"/>
            <a:ext cx="0" cy="178723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159" y="3716868"/>
            <a:ext cx="7577295" cy="499689"/>
          </a:xfrm>
        </p:spPr>
        <p:txBody>
          <a:bodyPr anchor="b"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4159" y="4318157"/>
            <a:ext cx="7577295" cy="1938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DF3C0B-FE9D-4B05-A34D-1F35D2D9AF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09153" y="3874305"/>
            <a:ext cx="1140973" cy="1140332"/>
            <a:chOff x="3595688" y="-3743325"/>
            <a:chExt cx="5648325" cy="5645150"/>
          </a:xfrm>
        </p:grpSpPr>
        <p:sp>
          <p:nvSpPr>
            <p:cNvPr id="20" name="Freeform 310">
              <a:extLst>
                <a:ext uri="{FF2B5EF4-FFF2-40B4-BE49-F238E27FC236}">
                  <a16:creationId xmlns:a16="http://schemas.microsoft.com/office/drawing/2014/main" id="{F8C87227-4DD3-4528-92C8-D2EC1FF432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Oval 311">
              <a:extLst>
                <a:ext uri="{FF2B5EF4-FFF2-40B4-BE49-F238E27FC236}">
                  <a16:creationId xmlns:a16="http://schemas.microsoft.com/office/drawing/2014/main" id="{EA083CC1-0BD5-4AD6-ADAC-8E238BBC3A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72B429A-16F4-4B14-AA74-02707A1B08C2}"/>
              </a:ext>
            </a:extLst>
          </p:cNvPr>
          <p:cNvSpPr/>
          <p:nvPr userDrawn="1"/>
        </p:nvSpPr>
        <p:spPr>
          <a:xfrm>
            <a:off x="1926886" y="5080289"/>
            <a:ext cx="1705506" cy="39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100">
                <a:solidFill>
                  <a:schemeClr val="tx1"/>
                </a:solidFill>
                <a:cs typeface="Arial"/>
              </a:rPr>
              <a:t> Enterprise Strategy Develop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C7756-066E-4091-9827-BE3E4F6309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4159" y="5135797"/>
            <a:ext cx="1760537" cy="368300"/>
          </a:xfrm>
        </p:spPr>
        <p:txBody>
          <a:bodyPr lIns="0" tIns="46800" rIns="90000" bIns="46800" anchor="b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MMM YYYY</a:t>
            </a:r>
          </a:p>
        </p:txBody>
      </p:sp>
    </p:spTree>
    <p:extLst>
      <p:ext uri="{BB962C8B-B14F-4D97-AF65-F5344CB8AC3E}">
        <p14:creationId xmlns:p14="http://schemas.microsoft.com/office/powerpoint/2010/main" val="9465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alf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</p:spTree>
    <p:extLst>
      <p:ext uri="{BB962C8B-B14F-4D97-AF65-F5344CB8AC3E}">
        <p14:creationId xmlns:p14="http://schemas.microsoft.com/office/powerpoint/2010/main" val="1418116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two thir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>
            <a:noAutofit/>
          </a:bodyPr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</p:spTree>
    <p:extLst>
      <p:ext uri="{BB962C8B-B14F-4D97-AF65-F5344CB8AC3E}">
        <p14:creationId xmlns:p14="http://schemas.microsoft.com/office/powerpoint/2010/main" val="2439488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4077B9B-BC97-4A88-95A6-46243A736D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53ECE7-81A1-45B5-93C9-C7F0DF06E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987111"/>
            <a:ext cx="2478638" cy="886397"/>
          </a:xfrm>
        </p:spPr>
        <p:txBody>
          <a:bodyPr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3D753A-38BD-407A-BEA3-9D4BD687F45F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2638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71844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FBA46C7-87D8-4BF3-AA2C-2369B5BFB9A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02F98D-105E-4C3D-AF90-9E1F95F0FE4B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72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32D5B-D0F3-4AFE-A489-45E2BD2E81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24E60C-4052-43E2-B4F6-C5412F7E55D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893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09E41-02D4-4C87-8349-77E234E333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D6EFB3-65D0-412C-A9F4-039B7921B0A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4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C44BB2-A14B-4399-B206-7FBCCD9A51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44008" y="1309657"/>
            <a:ext cx="510189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F024A3-5518-4929-B2A2-00FC97E3F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2856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714AFE-8E2E-47D4-AD00-4ACD2A96ADE4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331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BCCF2D4C-0709-4116-AFCF-0B032A472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44009" y="1309657"/>
            <a:ext cx="5101896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B4BD75-5860-4C4F-A17A-9856AB183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18405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6B9648-EA0F-4FEB-AE60-6F1FD774713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84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706F-6727-49DC-8600-81CF8A69A2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4349D8A4-8B01-4C83-BDA3-A22F8E68819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4C6F12-2C2E-45D3-9EEB-0D8579C05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583A2-F170-4873-87D6-F381508D77B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726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DEC1AC-4BAF-49B4-BDBB-B75ABF8521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9">
            <a:extLst>
              <a:ext uri="{FF2B5EF4-FFF2-40B4-BE49-F238E27FC236}">
                <a16:creationId xmlns:a16="http://schemas.microsoft.com/office/drawing/2014/main" id="{F02B1CC5-2061-4C58-A93E-CC94FEF2213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8CF4CF-C180-496C-BB2A-1632AF40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3EA192-E6B5-4545-A2A0-817D571D7C0E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30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85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1E69F8-09BC-4B31-ABA3-CAF955A2BAB0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40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630EEF-5B64-43FF-BCEB-7D1560165D13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64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0E9202-99A4-4857-B0DA-DE42CEBAE95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70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E7FB1EE1-C297-4B29-B064-11E2885569E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66360" y="2398675"/>
            <a:ext cx="1859280" cy="1858236"/>
            <a:chOff x="3595688" y="-3743325"/>
            <a:chExt cx="5648325" cy="5645150"/>
          </a:xfrm>
        </p:grpSpPr>
        <p:sp>
          <p:nvSpPr>
            <p:cNvPr id="8" name="Freeform 310">
              <a:extLst>
                <a:ext uri="{FF2B5EF4-FFF2-40B4-BE49-F238E27FC236}">
                  <a16:creationId xmlns:a16="http://schemas.microsoft.com/office/drawing/2014/main" id="{C59F9547-C0B4-41E2-9123-9EBED24EC8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9" name="Oval 311">
              <a:extLst>
                <a:ext uri="{FF2B5EF4-FFF2-40B4-BE49-F238E27FC236}">
                  <a16:creationId xmlns:a16="http://schemas.microsoft.com/office/drawing/2014/main" id="{0F5CC894-0FF2-4091-8ED7-A9FCFB4E19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684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707C9E-6E89-4C81-A3B4-1A1DBBAFDD5F}"/>
              </a:ext>
            </a:extLst>
          </p:cNvPr>
          <p:cNvSpPr/>
          <p:nvPr userDrawn="1"/>
        </p:nvSpPr>
        <p:spPr>
          <a:xfrm flipH="1">
            <a:off x="0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3507" y="2812768"/>
            <a:ext cx="7401464" cy="716866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3507" y="3529635"/>
            <a:ext cx="7401464" cy="716866"/>
          </a:xfrm>
          <a:prstGeom prst="rect">
            <a:avLst/>
          </a:prstGeom>
        </p:spPr>
        <p:txBody>
          <a:bodyPr vert="horz" wrap="square" lIns="91440" tIns="90000" rIns="9144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4236C51-CABF-425F-8C1E-9736D4755F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3507" y="5914042"/>
            <a:ext cx="1760537" cy="368300"/>
          </a:xfrm>
        </p:spPr>
        <p:txBody>
          <a:bodyPr lIns="90000" tIns="46800" rIns="90000" bIns="46800" anchor="ctr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665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Line 62"/>
          <p:cNvSpPr>
            <a:spLocks noChangeShapeType="1"/>
          </p:cNvSpPr>
          <p:nvPr userDrawn="1"/>
        </p:nvSpPr>
        <p:spPr bwMode="auto">
          <a:xfrm>
            <a:off x="3592142" y="3716867"/>
            <a:ext cx="0" cy="178723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159" y="3716868"/>
            <a:ext cx="7577295" cy="499689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4159" y="4318157"/>
            <a:ext cx="7577295" cy="1938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DF3C0B-FE9D-4B05-A34D-1F35D2D9AF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09153" y="3874305"/>
            <a:ext cx="1140973" cy="1140332"/>
            <a:chOff x="3595688" y="-3743325"/>
            <a:chExt cx="5648325" cy="5645150"/>
          </a:xfrm>
        </p:grpSpPr>
        <p:sp>
          <p:nvSpPr>
            <p:cNvPr id="20" name="Freeform 310">
              <a:extLst>
                <a:ext uri="{FF2B5EF4-FFF2-40B4-BE49-F238E27FC236}">
                  <a16:creationId xmlns:a16="http://schemas.microsoft.com/office/drawing/2014/main" id="{F8C87227-4DD3-4528-92C8-D2EC1FF432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Oval 311">
              <a:extLst>
                <a:ext uri="{FF2B5EF4-FFF2-40B4-BE49-F238E27FC236}">
                  <a16:creationId xmlns:a16="http://schemas.microsoft.com/office/drawing/2014/main" id="{EA083CC1-0BD5-4AD6-ADAC-8E238BBC3A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72B429A-16F4-4B14-AA74-02707A1B08C2}"/>
              </a:ext>
            </a:extLst>
          </p:cNvPr>
          <p:cNvSpPr/>
          <p:nvPr userDrawn="1"/>
        </p:nvSpPr>
        <p:spPr>
          <a:xfrm>
            <a:off x="1926886" y="5080289"/>
            <a:ext cx="1705506" cy="39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100">
                <a:solidFill>
                  <a:schemeClr val="tx1"/>
                </a:solidFill>
                <a:cs typeface="Arial"/>
              </a:rPr>
              <a:t> Enterprise Strategy Develop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C7756-066E-4091-9827-BE3E4F6309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4159" y="5135797"/>
            <a:ext cx="1760537" cy="368300"/>
          </a:xfrm>
        </p:spPr>
        <p:txBody>
          <a:bodyPr lIns="0" tIns="46800" rIns="90000" bIns="46800" anchor="b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2178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707C9E-6E89-4C81-A3B4-1A1DBBAFDD5F}"/>
              </a:ext>
            </a:extLst>
          </p:cNvPr>
          <p:cNvSpPr/>
          <p:nvPr userDrawn="1"/>
        </p:nvSpPr>
        <p:spPr>
          <a:xfrm flipH="1">
            <a:off x="0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25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3507" y="2812768"/>
            <a:ext cx="7401464" cy="716866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3507" y="3529635"/>
            <a:ext cx="7401464" cy="716866"/>
          </a:xfrm>
          <a:prstGeom prst="rect">
            <a:avLst/>
          </a:prstGeom>
        </p:spPr>
        <p:txBody>
          <a:bodyPr vert="horz" wrap="square" lIns="91440" tIns="90000" rIns="9144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4236C51-CABF-425F-8C1E-9736D4755F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3507" y="5914042"/>
            <a:ext cx="1760537" cy="368300"/>
          </a:xfrm>
        </p:spPr>
        <p:txBody>
          <a:bodyPr lIns="90000" tIns="46800" rIns="90000" bIns="46800" anchor="ctr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670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038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Line 62"/>
          <p:cNvSpPr>
            <a:spLocks noChangeShapeType="1"/>
          </p:cNvSpPr>
          <p:nvPr userDrawn="1"/>
        </p:nvSpPr>
        <p:spPr bwMode="auto">
          <a:xfrm>
            <a:off x="3592142" y="3716867"/>
            <a:ext cx="0" cy="178723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159" y="3716868"/>
            <a:ext cx="7577295" cy="499689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4159" y="4318157"/>
            <a:ext cx="7577295" cy="1938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DF3C0B-FE9D-4B05-A34D-1F35D2D9AF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09153" y="3874305"/>
            <a:ext cx="1140973" cy="1140332"/>
            <a:chOff x="3595688" y="-3743325"/>
            <a:chExt cx="5648325" cy="5645150"/>
          </a:xfrm>
        </p:grpSpPr>
        <p:sp>
          <p:nvSpPr>
            <p:cNvPr id="20" name="Freeform 310">
              <a:extLst>
                <a:ext uri="{FF2B5EF4-FFF2-40B4-BE49-F238E27FC236}">
                  <a16:creationId xmlns:a16="http://schemas.microsoft.com/office/drawing/2014/main" id="{F8C87227-4DD3-4528-92C8-D2EC1FF432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Oval 311">
              <a:extLst>
                <a:ext uri="{FF2B5EF4-FFF2-40B4-BE49-F238E27FC236}">
                  <a16:creationId xmlns:a16="http://schemas.microsoft.com/office/drawing/2014/main" id="{EA083CC1-0BD5-4AD6-ADAC-8E238BBC3A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72B429A-16F4-4B14-AA74-02707A1B08C2}"/>
              </a:ext>
            </a:extLst>
          </p:cNvPr>
          <p:cNvSpPr/>
          <p:nvPr userDrawn="1"/>
        </p:nvSpPr>
        <p:spPr>
          <a:xfrm>
            <a:off x="1926886" y="5080289"/>
            <a:ext cx="1705506" cy="39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100">
                <a:solidFill>
                  <a:schemeClr val="tx1"/>
                </a:solidFill>
                <a:cs typeface="Arial"/>
              </a:rPr>
              <a:t> Enterprise Strategy Develop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C7756-066E-4091-9827-BE3E4F6309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4159" y="5135797"/>
            <a:ext cx="1760537" cy="368300"/>
          </a:xfrm>
        </p:spPr>
        <p:txBody>
          <a:bodyPr lIns="0" tIns="46800" rIns="90000" bIns="46800" anchor="b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0888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3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D26B7-BAFC-4F12-AB35-9ABA458E0E7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11449030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270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D26B7-BAFC-4F12-AB35-9ABA458E0E7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11449030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39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309657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9827D9C-3829-4CA5-B61F-5D05F5286DC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324400" y="1309657"/>
            <a:ext cx="6521505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9508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858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Gre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565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FFFFFF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680528-B5BF-4B4C-9B51-9EE15DE76A92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990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91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841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 Gre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5817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181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874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FFFFFF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680528-B5BF-4B4C-9B51-9EE15DE76A92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615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682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 bwMode="grayWhite"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346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gray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86EC968-380D-4152-B75F-88F6E8E559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993A38F-5C68-4E3E-BC37-B1053FEC344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4" name="Freeform 310">
              <a:extLst>
                <a:ext uri="{FF2B5EF4-FFF2-40B4-BE49-F238E27FC236}">
                  <a16:creationId xmlns:a16="http://schemas.microsoft.com/office/drawing/2014/main" id="{0CD65BD5-2118-40A7-AAC6-1008D08F54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311">
              <a:extLst>
                <a:ext uri="{FF2B5EF4-FFF2-40B4-BE49-F238E27FC236}">
                  <a16:creationId xmlns:a16="http://schemas.microsoft.com/office/drawing/2014/main" id="{8F2D63A0-9C95-4F9B-804D-D435183E30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2673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309657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9827D9C-3829-4CA5-B61F-5D05F5286DC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324400" y="1309657"/>
            <a:ext cx="6521505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0100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E4569A-9A21-4E6E-AA89-B0B329ECBAF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86622" y="1309657"/>
            <a:ext cx="745928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2F356-E787-4F32-AA15-958F3B9FF0EC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981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ighl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64899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0762" y="1309657"/>
            <a:ext cx="4395143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648992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05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 r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0" y="0"/>
            <a:ext cx="84712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32897FE-5ECF-4325-8A46-EAF2F22539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7795589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583DA0-9E11-45C1-A34C-102A908179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50078" y="1309657"/>
            <a:ext cx="309582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7A2F25-DEB3-4D6E-9DA4-BE5165999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51294"/>
            <a:ext cx="7795589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EEC343-48DD-4CA8-9D74-A62368C267A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115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0449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E39F91F9-6EE2-470C-99C8-C538FBB2012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7BACD9-64DD-41F0-AA7B-10944007270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1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half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401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>
            <a:noAutofit/>
          </a:bodyPr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</p:spTree>
    <p:extLst>
      <p:ext uri="{BB962C8B-B14F-4D97-AF65-F5344CB8AC3E}">
        <p14:creationId xmlns:p14="http://schemas.microsoft.com/office/powerpoint/2010/main" val="317908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two thir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>
            <a:noAutofit/>
          </a:bodyPr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</p:spTree>
    <p:extLst>
      <p:ext uri="{BB962C8B-B14F-4D97-AF65-F5344CB8AC3E}">
        <p14:creationId xmlns:p14="http://schemas.microsoft.com/office/powerpoint/2010/main" val="3596159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4077B9B-BC97-4A88-95A6-46243A736D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53ECE7-81A1-45B5-93C9-C7F0DF06E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987111"/>
            <a:ext cx="2478638" cy="886397"/>
          </a:xfrm>
        </p:spPr>
        <p:txBody>
          <a:bodyPr anchor="ctr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3D753A-38BD-407A-BEA3-9D4BD687F45F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794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71844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FBA46C7-87D8-4BF3-AA2C-2369B5BFB9A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410900" y="1309657"/>
            <a:ext cx="743500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02F98D-105E-4C3D-AF90-9E1F95F0FE4B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5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32D5B-D0F3-4AFE-A489-45E2BD2E81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24E60C-4052-43E2-B4F6-C5412F7E55D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480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n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09E41-02D4-4C87-8349-77E234E333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32474" y="1309657"/>
            <a:ext cx="6013430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D6EFB3-65D0-412C-A9F4-039B7921B0A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193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04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630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C44BB2-A14B-4399-B206-7FBCCD9A51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44008" y="1309657"/>
            <a:ext cx="5101897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F024A3-5518-4929-B2A2-00FC97E3F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28565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714AFE-8E2E-47D4-AD00-4ACD2A96ADE4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387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BCCF2D4C-0709-4116-AFCF-0B032A4722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44009" y="1309657"/>
            <a:ext cx="5101896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B4BD75-5860-4C4F-A17A-9856AB183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5018405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6B9648-EA0F-4FEB-AE60-6F1FD7747135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18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706F-6727-49DC-8600-81CF8A69A2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4349D8A4-8B01-4C83-BDA3-A22F8E68819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4C6F12-2C2E-45D3-9EEB-0D8579C05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583A2-F170-4873-87D6-F381508D77B6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687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DEC1AC-4BAF-49B4-BDBB-B75ABF8521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1080" y="1309657"/>
            <a:ext cx="3204825" cy="485143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9">
            <a:extLst>
              <a:ext uri="{FF2B5EF4-FFF2-40B4-BE49-F238E27FC236}">
                <a16:creationId xmlns:a16="http://schemas.microsoft.com/office/drawing/2014/main" id="{F02B1CC5-2061-4C58-A93E-CC94FEF2213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6875" y="1309657"/>
            <a:ext cx="6489924" cy="485143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8CF4CF-C180-496C-BB2A-1632AF40D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51294"/>
            <a:ext cx="6489924" cy="33239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3EA192-E6B5-4545-A2A0-817D571D7C0E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29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1E69F8-09BC-4B31-ABA3-CAF955A2BAB0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40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630EEF-5B64-43FF-BCEB-7D1560165D13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1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4CB07-F2CE-4944-9AB1-E300E4804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0E9202-99A4-4857-B0DA-DE42CEBAE95D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64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E7FB1EE1-C297-4B29-B064-11E2885569E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66360" y="2398675"/>
            <a:ext cx="1859280" cy="1858236"/>
            <a:chOff x="3595688" y="-3743325"/>
            <a:chExt cx="5648325" cy="5645150"/>
          </a:xfrm>
        </p:grpSpPr>
        <p:sp>
          <p:nvSpPr>
            <p:cNvPr id="8" name="Freeform 310">
              <a:extLst>
                <a:ext uri="{FF2B5EF4-FFF2-40B4-BE49-F238E27FC236}">
                  <a16:creationId xmlns:a16="http://schemas.microsoft.com/office/drawing/2014/main" id="{C59F9547-C0B4-41E2-9123-9EBED24EC8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9" name="Oval 311">
              <a:extLst>
                <a:ext uri="{FF2B5EF4-FFF2-40B4-BE49-F238E27FC236}">
                  <a16:creationId xmlns:a16="http://schemas.microsoft.com/office/drawing/2014/main" id="{0F5CC894-0FF2-4091-8ED7-A9FCFB4E19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2355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7BB701-EA2F-ED46-B37E-AF3A60B991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406481-8B1B-1F42-B99F-288CBC34B5D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10686994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DE8C9739-E40E-40E8-8A1C-936AA52504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C83A26-E044-7544-A558-A2AAC815D5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717128" y="6379711"/>
            <a:ext cx="343245" cy="341765"/>
            <a:chOff x="886261" y="900779"/>
            <a:chExt cx="1655595" cy="164845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E2539FB-CDFC-6041-A254-E9E10369C123}"/>
                </a:ext>
              </a:extLst>
            </p:cNvPr>
            <p:cNvSpPr/>
            <p:nvPr/>
          </p:nvSpPr>
          <p:spPr>
            <a:xfrm>
              <a:off x="886261" y="900779"/>
              <a:ext cx="1655595" cy="1648458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3BA61D-16F4-6343-9C06-D6E2536AE0BA}"/>
                </a:ext>
              </a:extLst>
            </p:cNvPr>
            <p:cNvSpPr/>
            <p:nvPr/>
          </p:nvSpPr>
          <p:spPr>
            <a:xfrm>
              <a:off x="1175422" y="1185785"/>
              <a:ext cx="1077272" cy="1072626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35FBE14-F92F-DF4A-81DF-C0B506AEEB69}"/>
                </a:ext>
              </a:extLst>
            </p:cNvPr>
            <p:cNvSpPr/>
            <p:nvPr/>
          </p:nvSpPr>
          <p:spPr>
            <a:xfrm>
              <a:off x="1430566" y="1439830"/>
              <a:ext cx="566984" cy="564542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sp>
        <p:nvSpPr>
          <p:cNvPr id="4" name="Rectangle 3"/>
          <p:cNvSpPr/>
          <p:nvPr userDrawn="1"/>
        </p:nvSpPr>
        <p:spPr>
          <a:xfrm>
            <a:off x="444137" y="729345"/>
            <a:ext cx="11272991" cy="341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495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Gre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632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10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9E2442E-B596-4EB7-9C91-0EA33021A29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830" y="3037632"/>
            <a:ext cx="10515600" cy="64724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18222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4697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61507"/>
            <a:ext cx="5386917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buFont typeface="Arial"/>
              <a:buChar char="•"/>
              <a:defRPr sz="2400"/>
            </a:lvl1pPr>
            <a:lvl2pPr>
              <a:buClrTx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Tx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374697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61507"/>
            <a:ext cx="5389033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defRPr sz="2400"/>
            </a:lvl1pPr>
            <a:lvl2pPr>
              <a:buClrTx/>
              <a:defRPr sz="2000">
                <a:solidFill>
                  <a:srgbClr val="595959"/>
                </a:solidFill>
              </a:defRPr>
            </a:lvl2pPr>
            <a:lvl3pPr>
              <a:buClrTx/>
              <a:defRPr sz="1800">
                <a:solidFill>
                  <a:srgbClr val="7F7F7F"/>
                </a:solidFill>
              </a:defRPr>
            </a:lvl3pPr>
            <a:lvl4pPr>
              <a:buClrTx/>
              <a:defRPr sz="1600">
                <a:solidFill>
                  <a:srgbClr val="7F7F7F"/>
                </a:solidFill>
              </a:defRPr>
            </a:lvl4pPr>
            <a:lvl5pPr>
              <a:buClrTx/>
              <a:defRPr sz="1600">
                <a:solidFill>
                  <a:srgbClr val="7F7F7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61627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defRPr sz="160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accent2">
                    <a:lumMod val="1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F6A1A116-C97A-4BE0-8EED-934BA4BE9ED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7874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81766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4697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61507"/>
            <a:ext cx="5386917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buFont typeface="Arial"/>
              <a:buChar char="•"/>
              <a:defRPr sz="2400"/>
            </a:lvl1pPr>
            <a:lvl2pPr>
              <a:buClrTx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Tx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buClrTx/>
              <a:defRPr sz="1600">
                <a:solidFill>
                  <a:schemeClr val="bg1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374697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CE112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61507"/>
            <a:ext cx="5389033" cy="3951288"/>
          </a:xfrm>
        </p:spPr>
        <p:txBody>
          <a:bodyPr/>
          <a:lstStyle>
            <a:lvl1pPr marL="225425" indent="-225425">
              <a:buClr>
                <a:srgbClr val="CE1126"/>
              </a:buClr>
              <a:defRPr sz="2400"/>
            </a:lvl1pPr>
            <a:lvl2pPr>
              <a:buClrTx/>
              <a:defRPr sz="2000">
                <a:solidFill>
                  <a:srgbClr val="595959"/>
                </a:solidFill>
              </a:defRPr>
            </a:lvl2pPr>
            <a:lvl3pPr>
              <a:buClrTx/>
              <a:defRPr sz="1800">
                <a:solidFill>
                  <a:srgbClr val="7F7F7F"/>
                </a:solidFill>
              </a:defRPr>
            </a:lvl3pPr>
            <a:lvl4pPr>
              <a:buClrTx/>
              <a:defRPr sz="1600">
                <a:solidFill>
                  <a:srgbClr val="7F7F7F"/>
                </a:solidFill>
              </a:defRPr>
            </a:lvl4pPr>
            <a:lvl5pPr>
              <a:buClrTx/>
              <a:defRPr sz="1600">
                <a:solidFill>
                  <a:srgbClr val="7F7F7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37085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EEE2E-17B6-DD43-9C43-978012F7A8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3657B6-F18B-234D-9583-AA27E3A2DB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1F8228-13CF-AE4F-B0A4-E297CC119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E1B1-946B-FB49-95D8-83638CE5C1EF}" type="datetimeFigureOut">
              <a:rPr lang="en-US" smtClean="0"/>
              <a:t>3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E4FE3A-08E5-8B41-BD54-BC17267BC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F9E82C-6E56-B944-9893-CDCC61D57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D9F8A-389B-F84B-AF9D-C2A54BCB72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4682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711200" y="914400"/>
            <a:ext cx="10871200" cy="53340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DE8C9739-E40E-40E8-8A1C-936AA52504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C83A26-E044-7544-A558-A2AAC815D5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717128" y="6379711"/>
            <a:ext cx="343245" cy="341765"/>
            <a:chOff x="886261" y="900779"/>
            <a:chExt cx="1655595" cy="164845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E2539FB-CDFC-6041-A254-E9E10369C123}"/>
                </a:ext>
              </a:extLst>
            </p:cNvPr>
            <p:cNvSpPr/>
            <p:nvPr/>
          </p:nvSpPr>
          <p:spPr>
            <a:xfrm>
              <a:off x="886261" y="900779"/>
              <a:ext cx="1655595" cy="1648458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3BA61D-16F4-6343-9C06-D6E2536AE0BA}"/>
                </a:ext>
              </a:extLst>
            </p:cNvPr>
            <p:cNvSpPr/>
            <p:nvPr/>
          </p:nvSpPr>
          <p:spPr>
            <a:xfrm>
              <a:off x="1175422" y="1185785"/>
              <a:ext cx="1077272" cy="1072626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35FBE14-F92F-DF4A-81DF-C0B506AEEB69}"/>
                </a:ext>
              </a:extLst>
            </p:cNvPr>
            <p:cNvSpPr/>
            <p:nvPr/>
          </p:nvSpPr>
          <p:spPr>
            <a:xfrm>
              <a:off x="1430566" y="1439830"/>
              <a:ext cx="566984" cy="564542"/>
            </a:xfrm>
            <a:prstGeom prst="ellipse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2387" tIns="52387" rIns="52387" bIns="52387" numCol="1" spcCol="38100" rtlCol="0" anchor="ctr">
              <a:spAutoFit/>
            </a:bodyPr>
            <a:lstStyle/>
            <a:p>
              <a:pPr marL="0" marR="0" lvl="0" indent="0" algn="ctr" defTabSz="602456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58093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3374" y="100092"/>
            <a:ext cx="647247" cy="64724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A1A116-C97A-4BE0-8EED-934BA4BE9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8000" y="100092"/>
            <a:ext cx="10515600" cy="64724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08000" y="873818"/>
            <a:ext cx="10515600" cy="43513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defRPr sz="160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08000" y="755051"/>
            <a:ext cx="1082127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5602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3374" y="100092"/>
            <a:ext cx="647247" cy="64724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A1A116-C97A-4BE0-8EED-934BA4BE9E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8000" y="100092"/>
            <a:ext cx="5156530" cy="64724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93206" y="755051"/>
            <a:ext cx="1082127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2485C33-3EDB-E1BE-616B-F41A779A4C1A}"/>
              </a:ext>
            </a:extLst>
          </p:cNvPr>
          <p:cNvSpPr/>
          <p:nvPr userDrawn="1"/>
        </p:nvSpPr>
        <p:spPr>
          <a:xfrm>
            <a:off x="5874103" y="1525878"/>
            <a:ext cx="1543215" cy="4655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1335A7-6A7A-B2C4-26CD-9AEDFD23C365}"/>
              </a:ext>
            </a:extLst>
          </p:cNvPr>
          <p:cNvSpPr txBox="1"/>
          <p:nvPr userDrawn="1"/>
        </p:nvSpPr>
        <p:spPr>
          <a:xfrm>
            <a:off x="1379573" y="903902"/>
            <a:ext cx="44763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Key Outcom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74C1BB-DBED-B802-789B-C58E0DE0A5FA}"/>
              </a:ext>
            </a:extLst>
          </p:cNvPr>
          <p:cNvSpPr txBox="1"/>
          <p:nvPr userDrawn="1"/>
        </p:nvSpPr>
        <p:spPr>
          <a:xfrm>
            <a:off x="7409714" y="981593"/>
            <a:ext cx="155306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Execution Confidence</a:t>
            </a:r>
          </a:p>
          <a:p>
            <a:pPr algn="ctr"/>
            <a:r>
              <a:rPr lang="en-US" sz="600"/>
              <a:t>(</a:t>
            </a:r>
            <a:r>
              <a:rPr lang="en-US" sz="600" i="1"/>
              <a:t>to deliver the work</a:t>
            </a:r>
            <a:r>
              <a:rPr lang="en-US" sz="600"/>
              <a:t>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F42E3-0BB5-5CB4-AA25-75727345FBBD}"/>
              </a:ext>
            </a:extLst>
          </p:cNvPr>
          <p:cNvCxnSpPr>
            <a:cxnSpLocks/>
          </p:cNvCxnSpPr>
          <p:nvPr userDrawn="1"/>
        </p:nvCxnSpPr>
        <p:spPr>
          <a:xfrm flipV="1">
            <a:off x="1386239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978CD73-AF2B-FED5-6E17-BA118CDE8CB0}"/>
              </a:ext>
            </a:extLst>
          </p:cNvPr>
          <p:cNvSpPr txBox="1"/>
          <p:nvPr userDrawn="1"/>
        </p:nvSpPr>
        <p:spPr>
          <a:xfrm>
            <a:off x="5862594" y="981593"/>
            <a:ext cx="15606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Impact Confidence</a:t>
            </a:r>
          </a:p>
          <a:p>
            <a:pPr algn="ctr"/>
            <a:r>
              <a:rPr lang="en-US" sz="600"/>
              <a:t>(</a:t>
            </a:r>
            <a:r>
              <a:rPr lang="en-US" sz="600" i="1"/>
              <a:t>for deliverables to achieve KRs</a:t>
            </a:r>
            <a:r>
              <a:rPr lang="en-US" sz="600"/>
              <a:t>)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EF43CA-BD20-6069-AC69-86059B684A36}"/>
              </a:ext>
            </a:extLst>
          </p:cNvPr>
          <p:cNvGrpSpPr/>
          <p:nvPr userDrawn="1"/>
        </p:nvGrpSpPr>
        <p:grpSpPr>
          <a:xfrm>
            <a:off x="5811290" y="1712564"/>
            <a:ext cx="1645920" cy="206277"/>
            <a:chOff x="6321843" y="1469574"/>
            <a:chExt cx="2180787" cy="20627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2827F2C-5B93-7BE9-B5E6-28A7556D8C2D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4884E03-960B-FD11-4BD1-7EB6F1E284FE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7694670-0DB2-8DFC-0499-68903C620A8E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282631B-85AA-1309-5D30-5E65EDBBEFCF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692C6D1-EC69-366C-04D0-EA0A73ADA8E4}"/>
              </a:ext>
            </a:extLst>
          </p:cNvPr>
          <p:cNvGrpSpPr/>
          <p:nvPr userDrawn="1"/>
        </p:nvGrpSpPr>
        <p:grpSpPr>
          <a:xfrm>
            <a:off x="5811291" y="2316186"/>
            <a:ext cx="1645920" cy="206277"/>
            <a:chOff x="6321843" y="1469574"/>
            <a:chExt cx="2180787" cy="206277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299741D-41D1-04B3-D8BC-DF9B19537A31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F485BC5-CF64-0585-3CDE-7CE3D0223B0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D20DFD7E-9659-8CB8-AFBB-D5237F52A6E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5656FA6-2673-8A69-D62E-C2584FDC92D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2AA19E3-B784-874E-DD33-3BC5FF8D4EAF}"/>
              </a:ext>
            </a:extLst>
          </p:cNvPr>
          <p:cNvGrpSpPr/>
          <p:nvPr userDrawn="1"/>
        </p:nvGrpSpPr>
        <p:grpSpPr>
          <a:xfrm>
            <a:off x="5811291" y="2977357"/>
            <a:ext cx="1645920" cy="206277"/>
            <a:chOff x="6321843" y="1469574"/>
            <a:chExt cx="2180787" cy="206277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81E6011-5FE3-3ACF-335A-2586C2363086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BA42621B-D8B3-B3F9-B2CD-7741488A4500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570DAAE8-CD80-58CA-2842-945C19300A0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D88473C-A8E9-B04E-DEF1-DEF9CDC727B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0B0FE30-F29E-130E-AA2F-6E4862C22D4D}"/>
              </a:ext>
            </a:extLst>
          </p:cNvPr>
          <p:cNvGrpSpPr/>
          <p:nvPr userDrawn="1"/>
        </p:nvGrpSpPr>
        <p:grpSpPr>
          <a:xfrm>
            <a:off x="5818038" y="3614007"/>
            <a:ext cx="1645920" cy="206277"/>
            <a:chOff x="6321843" y="1469574"/>
            <a:chExt cx="2180787" cy="206277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9E669501-2A68-8729-8862-45B0DE247BDA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C214CBC-C798-E09E-BE8B-3986A0D3945B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FF1E71ED-F5C0-D946-BFBE-ED3D2BC9D7D3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8AB18E8-7781-D7C2-7192-1B9A353D965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A274E8A-5B08-9E65-EC4C-46DD6B872323}"/>
              </a:ext>
            </a:extLst>
          </p:cNvPr>
          <p:cNvGrpSpPr/>
          <p:nvPr userDrawn="1"/>
        </p:nvGrpSpPr>
        <p:grpSpPr>
          <a:xfrm>
            <a:off x="5811291" y="4324984"/>
            <a:ext cx="1645920" cy="206277"/>
            <a:chOff x="6321843" y="1469574"/>
            <a:chExt cx="2180787" cy="206277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301F10C-8B0A-3782-2D24-8937184C388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9A1DA43D-A569-F4CB-5627-7CFF7968819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D1EA11CE-B336-8F10-951C-3DD8F26734F7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64EC8384-F1B0-C61E-1A00-B7C46C1C14B5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2CCAFF6-98C9-5C9D-377B-200885DFF932}"/>
              </a:ext>
            </a:extLst>
          </p:cNvPr>
          <p:cNvGrpSpPr/>
          <p:nvPr userDrawn="1"/>
        </p:nvGrpSpPr>
        <p:grpSpPr>
          <a:xfrm>
            <a:off x="5824785" y="5018187"/>
            <a:ext cx="1645920" cy="206277"/>
            <a:chOff x="6321843" y="1469574"/>
            <a:chExt cx="2180787" cy="206277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95987DEF-2297-E5A4-3811-79502373C8EF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AF009E86-4A6C-D96A-349E-7D81022666F3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B187F549-F6C6-BF9A-4AA0-50D4910330DF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D4D2720-2E3D-6C88-9119-0A50DD94115A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5FE0E31F-4038-FE24-C155-0AE458185098}"/>
              </a:ext>
            </a:extLst>
          </p:cNvPr>
          <p:cNvSpPr/>
          <p:nvPr userDrawn="1"/>
        </p:nvSpPr>
        <p:spPr>
          <a:xfrm>
            <a:off x="7424143" y="1525879"/>
            <a:ext cx="1545336" cy="465531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580BF33-A971-FA38-08C0-644361CCAC75}"/>
              </a:ext>
            </a:extLst>
          </p:cNvPr>
          <p:cNvGrpSpPr/>
          <p:nvPr userDrawn="1"/>
        </p:nvGrpSpPr>
        <p:grpSpPr>
          <a:xfrm>
            <a:off x="7369200" y="1712564"/>
            <a:ext cx="1645920" cy="206277"/>
            <a:chOff x="6321843" y="1469574"/>
            <a:chExt cx="2180787" cy="206277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940511B3-9649-545D-1F56-8A322DACF23F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A8FD6679-03E2-723A-1ADE-DCB12A354AD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D67E8602-88ED-A932-6551-5BEB01088506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FB23E23-8718-DB54-FA3A-0983F1A3B156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937FBAEB-3402-9FF0-C18A-4E964D075378}"/>
              </a:ext>
            </a:extLst>
          </p:cNvPr>
          <p:cNvGrpSpPr/>
          <p:nvPr userDrawn="1"/>
        </p:nvGrpSpPr>
        <p:grpSpPr>
          <a:xfrm>
            <a:off x="7369200" y="2316186"/>
            <a:ext cx="1645920" cy="206277"/>
            <a:chOff x="6321843" y="1469574"/>
            <a:chExt cx="2180787" cy="206277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B01DFB25-568E-7965-D978-FBFFA2F6AD94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0ACE8EB8-48D0-10B5-EBAA-5522A539CEE2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18901F8B-59E5-2DDC-F8A0-5385C72D1D2B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66ECF01F-11FB-ACEA-8D5D-2ED966FA23C0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EF6517B-B964-AFB1-E0F2-0CF93C2438B0}"/>
              </a:ext>
            </a:extLst>
          </p:cNvPr>
          <p:cNvGrpSpPr/>
          <p:nvPr userDrawn="1"/>
        </p:nvGrpSpPr>
        <p:grpSpPr>
          <a:xfrm>
            <a:off x="7369200" y="2977357"/>
            <a:ext cx="1645920" cy="206277"/>
            <a:chOff x="6321843" y="1469574"/>
            <a:chExt cx="2180787" cy="206277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9BC6BEA8-6CB3-1073-C85E-8BCBD1E04C26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1600FE5C-A613-AC27-B843-FD84D4B9A75A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CFED4D43-A47A-0C6C-8A30-FAC1B4891BAE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8137D317-7E4C-1D55-D5F1-307ECEEB0EF1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53A284B-C77E-95F9-ECCB-3FA967BCBA09}"/>
              </a:ext>
            </a:extLst>
          </p:cNvPr>
          <p:cNvGrpSpPr/>
          <p:nvPr userDrawn="1"/>
        </p:nvGrpSpPr>
        <p:grpSpPr>
          <a:xfrm>
            <a:off x="7375947" y="3614007"/>
            <a:ext cx="1645920" cy="206277"/>
            <a:chOff x="6321843" y="1469574"/>
            <a:chExt cx="2180787" cy="206277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549E29F3-A277-F0F7-B590-708896F7766D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E4B151D5-C689-35E4-5666-82EE905E3B66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ED961206-8947-A8BF-9C58-A5E71E5D43D1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74A61E4D-A83B-0E7E-6186-2F1EFBFCC95B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D23788A-DFF0-FABD-CD10-AFB5753F76D0}"/>
              </a:ext>
            </a:extLst>
          </p:cNvPr>
          <p:cNvGrpSpPr/>
          <p:nvPr userDrawn="1"/>
        </p:nvGrpSpPr>
        <p:grpSpPr>
          <a:xfrm>
            <a:off x="7369200" y="4324984"/>
            <a:ext cx="1645920" cy="206277"/>
            <a:chOff x="6321843" y="1469574"/>
            <a:chExt cx="2180787" cy="206277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978C66A-0B3F-EDB6-8D29-F609C62B7672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59FC3D5B-A130-4592-C972-600C99A44BF0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77F2CBCC-CB98-6614-FDF1-23126BEF2A8C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58547B8C-2773-F3E5-8686-99C01CEB1CBE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B9BD0398-C518-9642-D73E-5717D548854C}"/>
              </a:ext>
            </a:extLst>
          </p:cNvPr>
          <p:cNvGrpSpPr/>
          <p:nvPr userDrawn="1"/>
        </p:nvGrpSpPr>
        <p:grpSpPr>
          <a:xfrm>
            <a:off x="7382694" y="5018187"/>
            <a:ext cx="1645920" cy="206277"/>
            <a:chOff x="6321843" y="1469574"/>
            <a:chExt cx="2180787" cy="206277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68DB329C-844F-71A0-571E-8C0746C684E8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21543D80-C8C1-B3EF-8F30-F4C50B38E1B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0510D48F-C659-BE3F-8A6C-30266FEAEBA9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26774816-9197-5DEC-C85C-B94F9A8ED931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6382203-F0CA-C068-7046-7137E772AA79}"/>
              </a:ext>
            </a:extLst>
          </p:cNvPr>
          <p:cNvCxnSpPr>
            <a:cxnSpLocks/>
          </p:cNvCxnSpPr>
          <p:nvPr userDrawn="1"/>
        </p:nvCxnSpPr>
        <p:spPr>
          <a:xfrm flipH="1">
            <a:off x="493206" y="2107450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DD41CC8-4E09-9A12-6C4A-14140E5C070A}"/>
              </a:ext>
            </a:extLst>
          </p:cNvPr>
          <p:cNvCxnSpPr>
            <a:cxnSpLocks/>
          </p:cNvCxnSpPr>
          <p:nvPr userDrawn="1"/>
        </p:nvCxnSpPr>
        <p:spPr>
          <a:xfrm flipV="1">
            <a:off x="1407606" y="3433231"/>
            <a:ext cx="987552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CD05C3-6236-3BEA-4F92-87D5B9F30727}"/>
              </a:ext>
            </a:extLst>
          </p:cNvPr>
          <p:cNvCxnSpPr>
            <a:cxnSpLocks/>
          </p:cNvCxnSpPr>
          <p:nvPr userDrawn="1"/>
        </p:nvCxnSpPr>
        <p:spPr>
          <a:xfrm flipV="1">
            <a:off x="1379573" y="4772327"/>
            <a:ext cx="987552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D9B7C14C-7C74-87A2-C505-903063F421D1}"/>
              </a:ext>
            </a:extLst>
          </p:cNvPr>
          <p:cNvSpPr txBox="1"/>
          <p:nvPr userDrawn="1"/>
        </p:nvSpPr>
        <p:spPr>
          <a:xfrm>
            <a:off x="8978430" y="981593"/>
            <a:ext cx="233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Call Ou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/>
              <a:t>(</a:t>
            </a:r>
            <a:r>
              <a:rPr lang="en-US" sz="700" i="1"/>
              <a:t>related to outcomes &amp; confidence</a:t>
            </a:r>
            <a:r>
              <a:rPr lang="en-US" sz="700"/>
              <a:t>)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5CA9D27-F2F9-DB50-ED13-514D9987055F}"/>
              </a:ext>
            </a:extLst>
          </p:cNvPr>
          <p:cNvSpPr txBox="1"/>
          <p:nvPr userDrawn="1"/>
        </p:nvSpPr>
        <p:spPr>
          <a:xfrm>
            <a:off x="471248" y="1497197"/>
            <a:ext cx="877283" cy="5078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900" b="1"/>
              <a:t>Site Experience Evolutio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60EE630-47EE-895D-0215-252D662F14D6}"/>
              </a:ext>
            </a:extLst>
          </p:cNvPr>
          <p:cNvSpPr txBox="1"/>
          <p:nvPr userDrawn="1"/>
        </p:nvSpPr>
        <p:spPr>
          <a:xfrm>
            <a:off x="471248" y="3321185"/>
            <a:ext cx="8782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Marketplace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1D811CD-6F21-39E7-FBBE-EB73ACF763F9}"/>
              </a:ext>
            </a:extLst>
          </p:cNvPr>
          <p:cNvSpPr txBox="1"/>
          <p:nvPr userDrawn="1"/>
        </p:nvSpPr>
        <p:spPr>
          <a:xfrm>
            <a:off x="471248" y="2252360"/>
            <a:ext cx="9216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Site Merch 2.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F6DD47-EC1D-E5C2-4F23-AF08C1AB5A14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2763392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1174BDB-190F-97A9-DDF3-5A9F5291C383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4099227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0B21114-30B5-C9EB-C122-41D465E382AF}"/>
              </a:ext>
            </a:extLst>
          </p:cNvPr>
          <p:cNvSpPr txBox="1"/>
          <p:nvPr userDrawn="1"/>
        </p:nvSpPr>
        <p:spPr>
          <a:xfrm>
            <a:off x="471248" y="4646635"/>
            <a:ext cx="8643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Roun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71D9A7-9C39-00D3-9E40-4CA8FF29F566}"/>
              </a:ext>
            </a:extLst>
          </p:cNvPr>
          <p:cNvSpPr txBox="1"/>
          <p:nvPr userDrawn="1"/>
        </p:nvSpPr>
        <p:spPr>
          <a:xfrm>
            <a:off x="0" y="6532081"/>
            <a:ext cx="1219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rgbClr val="C00000"/>
                </a:solidFill>
              </a:rPr>
              <a:t>CONFIDENTIAL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F5029D5-1F6F-009D-1439-D43E2DCFE3EC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439231" y="1201078"/>
          <a:ext cx="344893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9787">
                  <a:extLst>
                    <a:ext uri="{9D8B030D-6E8A-4147-A177-3AD203B41FA5}">
                      <a16:colId xmlns:a16="http://schemas.microsoft.com/office/drawing/2014/main" val="1663697451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3390690125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3314898269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1180691790"/>
                    </a:ext>
                  </a:extLst>
                </a:gridCol>
                <a:gridCol w="689787">
                  <a:extLst>
                    <a:ext uri="{9D8B030D-6E8A-4147-A177-3AD203B41FA5}">
                      <a16:colId xmlns:a16="http://schemas.microsoft.com/office/drawing/2014/main" val="17221377"/>
                    </a:ext>
                  </a:extLst>
                </a:gridCol>
              </a:tblGrid>
              <a:tr h="202970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Q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FY2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08455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2298E1D-5AB7-4B4A-FD89-F9035E8C84D0}"/>
              </a:ext>
            </a:extLst>
          </p:cNvPr>
          <p:cNvCxnSpPr>
            <a:cxnSpLocks/>
          </p:cNvCxnSpPr>
          <p:nvPr userDrawn="1"/>
        </p:nvCxnSpPr>
        <p:spPr>
          <a:xfrm flipV="1">
            <a:off x="3134357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6B41B55-BD75-D107-D1A1-3340995BA8E3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2686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830B1BB-152C-CD86-2D4B-FB972D09884C}"/>
              </a:ext>
            </a:extLst>
          </p:cNvPr>
          <p:cNvCxnSpPr>
            <a:cxnSpLocks/>
          </p:cNvCxnSpPr>
          <p:nvPr userDrawn="1"/>
        </p:nvCxnSpPr>
        <p:spPr>
          <a:xfrm flipV="1">
            <a:off x="450894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4812F9D-E87D-2187-DCD5-3147425AEE7E}"/>
              </a:ext>
            </a:extLst>
          </p:cNvPr>
          <p:cNvCxnSpPr>
            <a:cxnSpLocks/>
          </p:cNvCxnSpPr>
          <p:nvPr userDrawn="1"/>
        </p:nvCxnSpPr>
        <p:spPr>
          <a:xfrm flipV="1">
            <a:off x="518727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83D34D5-7F8B-336C-2BC2-27189B6521D8}"/>
              </a:ext>
            </a:extLst>
          </p:cNvPr>
          <p:cNvCxnSpPr>
            <a:cxnSpLocks/>
          </p:cNvCxnSpPr>
          <p:nvPr userDrawn="1"/>
        </p:nvCxnSpPr>
        <p:spPr>
          <a:xfrm flipV="1">
            <a:off x="2427913" y="1432450"/>
            <a:ext cx="0" cy="475488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1C6328E-7F49-3798-738C-694A764526D1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206" y="5457457"/>
            <a:ext cx="1078992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DE07A30E-A25F-B781-4E7B-2173EECE7353}"/>
              </a:ext>
            </a:extLst>
          </p:cNvPr>
          <p:cNvSpPr txBox="1"/>
          <p:nvPr userDrawn="1"/>
        </p:nvSpPr>
        <p:spPr>
          <a:xfrm>
            <a:off x="471248" y="5668571"/>
            <a:ext cx="849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Guest-Led</a:t>
            </a:r>
          </a:p>
          <a:p>
            <a:r>
              <a:rPr lang="en-US" sz="900" b="1"/>
              <a:t>Fulfillmen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4A4BE62-C23E-D811-CD07-027428A95A8D}"/>
              </a:ext>
            </a:extLst>
          </p:cNvPr>
          <p:cNvGrpSpPr/>
          <p:nvPr userDrawn="1"/>
        </p:nvGrpSpPr>
        <p:grpSpPr>
          <a:xfrm>
            <a:off x="5833752" y="5696510"/>
            <a:ext cx="1645920" cy="206277"/>
            <a:chOff x="6321843" y="1469574"/>
            <a:chExt cx="2180787" cy="20627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036C178-B71B-9D18-A2C0-2FE422D6DF9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AC07CC0-6AA6-8FB6-D152-82C3F1081B59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9CDCAB3-A7F4-4EB0-EE38-00FFC5D9155D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576B367-811E-2E64-2D88-13109B807E30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2D7662E-6214-3F62-9070-F4F95D2BA7D0}"/>
              </a:ext>
            </a:extLst>
          </p:cNvPr>
          <p:cNvGrpSpPr/>
          <p:nvPr userDrawn="1"/>
        </p:nvGrpSpPr>
        <p:grpSpPr>
          <a:xfrm>
            <a:off x="7391661" y="5696510"/>
            <a:ext cx="1645920" cy="206277"/>
            <a:chOff x="6321843" y="1469574"/>
            <a:chExt cx="2180787" cy="20627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6DD95E0-A7D0-6F6F-2719-F4F7237A80E9}"/>
                </a:ext>
              </a:extLst>
            </p:cNvPr>
            <p:cNvGrpSpPr/>
            <p:nvPr/>
          </p:nvGrpSpPr>
          <p:grpSpPr>
            <a:xfrm>
              <a:off x="6321843" y="1469574"/>
              <a:ext cx="2180787" cy="185817"/>
              <a:chOff x="2649303" y="5769616"/>
              <a:chExt cx="2180787" cy="185817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BA9DEEAE-92C9-9A98-2F9C-58F802B3841D}"/>
                  </a:ext>
                </a:extLst>
              </p:cNvPr>
              <p:cNvSpPr txBox="1"/>
              <p:nvPr/>
            </p:nvSpPr>
            <p:spPr>
              <a:xfrm>
                <a:off x="4369968" y="5770767"/>
                <a:ext cx="460122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600"/>
                  <a:t>High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2D51AD84-62A2-CDAE-D566-214BB586EC14}"/>
                  </a:ext>
                </a:extLst>
              </p:cNvPr>
              <p:cNvSpPr txBox="1"/>
              <p:nvPr/>
            </p:nvSpPr>
            <p:spPr>
              <a:xfrm>
                <a:off x="2649303" y="5769616"/>
                <a:ext cx="43956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600"/>
                  <a:t>Low</a:t>
                </a:r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F8736EA-EB65-B93D-F2F4-CF12C0C87B5A}"/>
                </a:ext>
              </a:extLst>
            </p:cNvPr>
            <p:cNvSpPr/>
            <p:nvPr/>
          </p:nvSpPr>
          <p:spPr>
            <a:xfrm>
              <a:off x="6733971" y="1492971"/>
              <a:ext cx="1371600" cy="182880"/>
            </a:xfrm>
            <a:prstGeom prst="rect">
              <a:avLst/>
            </a:prstGeom>
            <a:gradFill flip="none" rotWithShape="1">
              <a:gsLst>
                <a:gs pos="0">
                  <a:srgbClr val="FFFFCC"/>
                </a:gs>
                <a:gs pos="53000">
                  <a:srgbClr val="92D050"/>
                </a:gs>
                <a:gs pos="100000">
                  <a:srgbClr val="00B05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741CF30-89C6-267C-8446-C9B5FF07170E}"/>
              </a:ext>
            </a:extLst>
          </p:cNvPr>
          <p:cNvGrpSpPr/>
          <p:nvPr userDrawn="1"/>
        </p:nvGrpSpPr>
        <p:grpSpPr>
          <a:xfrm>
            <a:off x="6688324" y="161039"/>
            <a:ext cx="1193693" cy="440841"/>
            <a:chOff x="6688324" y="161039"/>
            <a:chExt cx="1193693" cy="440841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863B66A4-9761-B531-5FCE-E4D65C3C861B}"/>
                </a:ext>
              </a:extLst>
            </p:cNvPr>
            <p:cNvSpPr/>
            <p:nvPr userDrawn="1"/>
          </p:nvSpPr>
          <p:spPr>
            <a:xfrm rot="10800000">
              <a:off x="7604779" y="250976"/>
              <a:ext cx="182880" cy="9144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8E151AD6-A8DE-DA8E-A6C0-AE5C420F5802}"/>
                </a:ext>
              </a:extLst>
            </p:cNvPr>
            <p:cNvSpPr/>
            <p:nvPr userDrawn="1"/>
          </p:nvSpPr>
          <p:spPr>
            <a:xfrm>
              <a:off x="7611341" y="411890"/>
              <a:ext cx="182880" cy="91440"/>
            </a:xfrm>
            <a:prstGeom prst="triangle">
              <a:avLst/>
            </a:prstGeom>
            <a:solidFill>
              <a:srgbClr val="FBC7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  <p:sp>
          <p:nvSpPr>
            <p:cNvPr id="32" name="TextBox 15">
              <a:extLst>
                <a:ext uri="{FF2B5EF4-FFF2-40B4-BE49-F238E27FC236}">
                  <a16:creationId xmlns:a16="http://schemas.microsoft.com/office/drawing/2014/main" id="{748EA1B9-5C55-EFDD-FCBB-53876A423762}"/>
                </a:ext>
              </a:extLst>
            </p:cNvPr>
            <p:cNvSpPr txBox="1"/>
            <p:nvPr userDrawn="1"/>
          </p:nvSpPr>
          <p:spPr>
            <a:xfrm>
              <a:off x="6688324" y="189726"/>
              <a:ext cx="939583" cy="215444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800">
                  <a:cs typeface="Arial"/>
                </a:rPr>
                <a:t>This month</a:t>
              </a:r>
              <a:endParaRPr lang="en-US" sz="800"/>
            </a:p>
          </p:txBody>
        </p:sp>
        <p:sp>
          <p:nvSpPr>
            <p:cNvPr id="33" name="TextBox 30">
              <a:extLst>
                <a:ext uri="{FF2B5EF4-FFF2-40B4-BE49-F238E27FC236}">
                  <a16:creationId xmlns:a16="http://schemas.microsoft.com/office/drawing/2014/main" id="{587CD303-791F-9A40-FA39-DD9890B57607}"/>
                </a:ext>
              </a:extLst>
            </p:cNvPr>
            <p:cNvSpPr txBox="1"/>
            <p:nvPr userDrawn="1"/>
          </p:nvSpPr>
          <p:spPr>
            <a:xfrm>
              <a:off x="6701238" y="366233"/>
              <a:ext cx="939583" cy="215444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800">
                  <a:cs typeface="Arial"/>
                </a:rPr>
                <a:t>Last month</a:t>
              </a:r>
              <a:endParaRPr lang="en-US" sz="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A7120BE-C507-4D2A-2A65-3C1745DBF9EA}"/>
                </a:ext>
              </a:extLst>
            </p:cNvPr>
            <p:cNvSpPr/>
            <p:nvPr userDrawn="1"/>
          </p:nvSpPr>
          <p:spPr>
            <a:xfrm>
              <a:off x="6890126" y="161039"/>
              <a:ext cx="991891" cy="440841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6987323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lide_Red_w/Bullseye">
    <p:bg>
      <p:bgPr>
        <a:solidFill>
          <a:srgbClr val="CC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BE37D0DC-793B-8346-8998-C18152D0A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602374"/>
            <a:ext cx="7629144" cy="788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xpressive headline.</a:t>
            </a:r>
          </a:p>
        </p:txBody>
      </p:sp>
      <p:sp>
        <p:nvSpPr>
          <p:cNvPr id="7" name="Sub-headline">
            <a:extLst>
              <a:ext uri="{FF2B5EF4-FFF2-40B4-BE49-F238E27FC236}">
                <a16:creationId xmlns:a16="http://schemas.microsoft.com/office/drawing/2014/main" id="{E8562A5F-6D80-814C-9FEB-683F199A40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280" y="3407488"/>
            <a:ext cx="7629461" cy="731520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headline.</a:t>
            </a:r>
          </a:p>
        </p:txBody>
      </p:sp>
      <p:grpSp>
        <p:nvGrpSpPr>
          <p:cNvPr id="8" name="Bullseye logo">
            <a:extLst>
              <a:ext uri="{FF2B5EF4-FFF2-40B4-BE49-F238E27FC236}">
                <a16:creationId xmlns:a16="http://schemas.microsoft.com/office/drawing/2014/main" id="{77247702-9C8E-D841-88B5-096A65CD305D}"/>
              </a:ext>
            </a:extLst>
          </p:cNvPr>
          <p:cNvGrpSpPr>
            <a:grpSpLocks noChangeAspect="1"/>
          </p:cNvGrpSpPr>
          <p:nvPr/>
        </p:nvGrpSpPr>
        <p:grpSpPr>
          <a:xfrm>
            <a:off x="11038332" y="347599"/>
            <a:ext cx="800100" cy="800100"/>
            <a:chOff x="1875472" y="1354455"/>
            <a:chExt cx="3200400" cy="3200400"/>
          </a:xfrm>
          <a:solidFill>
            <a:schemeClr val="bg1"/>
          </a:solidFill>
        </p:grpSpPr>
        <p:sp>
          <p:nvSpPr>
            <p:cNvPr id="9" name="Donut 8">
              <a:extLst>
                <a:ext uri="{FF2B5EF4-FFF2-40B4-BE49-F238E27FC236}">
                  <a16:creationId xmlns:a16="http://schemas.microsoft.com/office/drawing/2014/main" id="{5C4D4FF2-C003-A344-AA53-4311B30C6944}"/>
                </a:ext>
              </a:extLst>
            </p:cNvPr>
            <p:cNvSpPr/>
            <p:nvPr/>
          </p:nvSpPr>
          <p:spPr bwMode="auto">
            <a:xfrm>
              <a:off x="1875472" y="1354455"/>
              <a:ext cx="3200400" cy="3200400"/>
            </a:xfrm>
            <a:prstGeom prst="donut">
              <a:avLst>
                <a:gd name="adj" fmla="val 1694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D71B32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7DCE62B-4B6B-5F4B-A9E8-41B26ED88F5D}"/>
                </a:ext>
              </a:extLst>
            </p:cNvPr>
            <p:cNvSpPr/>
            <p:nvPr/>
          </p:nvSpPr>
          <p:spPr bwMode="auto">
            <a:xfrm>
              <a:off x="2930922" y="2409905"/>
              <a:ext cx="1089500" cy="10895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rgbClr val="D71B32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501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ine 5"/>
          <p:cNvSpPr>
            <a:spLocks noChangeShapeType="1"/>
          </p:cNvSpPr>
          <p:nvPr/>
        </p:nvSpPr>
        <p:spPr bwMode="auto">
          <a:xfrm>
            <a:off x="1041400" y="304800"/>
            <a:ext cx="0" cy="6096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</p:spPr>
        <p:txBody>
          <a:bodyPr wrap="none" lIns="93276" tIns="46638" rIns="93276" bIns="46638" anchor="ctr"/>
          <a:lstStyle/>
          <a:p>
            <a:pPr algn="ctr" defTabSz="91430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charset="0"/>
              <a:buNone/>
              <a:defRPr/>
            </a:pPr>
            <a:endParaRPr lang="en-US" sz="1200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11684000" y="6629400"/>
            <a:ext cx="508000" cy="228600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>
                    <a:tint val="7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636378F1-B69B-48E8-B66D-7723761A25C3}" type="slidenum">
              <a:rPr lang="en-US" sz="1000" smtClean="0"/>
              <a:pPr>
                <a:defRPr/>
              </a:pPr>
              <a:t>‹#›</a:t>
            </a:fld>
            <a:endParaRPr lang="en-US" sz="1050"/>
          </a:p>
        </p:txBody>
      </p:sp>
      <p:pic>
        <p:nvPicPr>
          <p:cNvPr id="6" name="Picture 2" descr="File:Bullseye.bmp">
            <a:hlinkClick r:id="rId6"/>
          </p:cNvPr>
          <p:cNvPicPr>
            <a:picLocks noChangeArrowheads="1"/>
          </p:cNvPicPr>
          <p:nvPr/>
        </p:nvPicPr>
        <p:blipFill>
          <a:blip r:embed="rId7" cstate="print"/>
          <a:srcRect l="18478" t="18478" r="18117" b="18117"/>
          <a:stretch>
            <a:fillRect/>
          </a:stretch>
        </p:blipFill>
        <p:spPr bwMode="auto">
          <a:xfrm>
            <a:off x="228600" y="220980"/>
            <a:ext cx="731520" cy="73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381000"/>
            <a:ext cx="10058400" cy="427038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11684000" y="6629400"/>
            <a:ext cx="508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>
                    <a:tint val="75000"/>
                  </a:schemeClr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401C0-D300-4221-A8FA-5EEE00F7BB53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43000" y="838200"/>
            <a:ext cx="10058400" cy="228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495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66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FFFFFF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680528-B5BF-4B4C-9B51-9EE15DE76A92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953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">
            <a:extLst>
              <a:ext uri="{FF2B5EF4-FFF2-40B4-BE49-F238E27FC236}">
                <a16:creationId xmlns:a16="http://schemas.microsoft.com/office/drawing/2014/main" id="{B9C9B7B6-1D5C-0647-B4C9-CDFD893D19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346838"/>
            <a:ext cx="7629144" cy="74237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/>
              <a:t>expressive headline.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8562A5F-6D80-814C-9FEB-683F199A40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1116108"/>
            <a:ext cx="7629461" cy="731520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rgbClr val="333333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headline.</a:t>
            </a:r>
          </a:p>
        </p:txBody>
      </p:sp>
    </p:spTree>
    <p:extLst>
      <p:ext uri="{BB962C8B-B14F-4D97-AF65-F5344CB8AC3E}">
        <p14:creationId xmlns:p14="http://schemas.microsoft.com/office/powerpoint/2010/main" val="45620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alf_Red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d background">
            <a:extLst>
              <a:ext uri="{FF2B5EF4-FFF2-40B4-BE49-F238E27FC236}">
                <a16:creationId xmlns:a16="http://schemas.microsoft.com/office/drawing/2014/main" id="{172979C2-2E30-8744-BF53-AACC51F9FF1B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CC0000"/>
          </a:solidFill>
          <a:ln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8DF25E-EC57-174E-91AE-96F933A00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" y="2706751"/>
            <a:ext cx="5636069" cy="731520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big thought.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EE4743EC-D541-B047-AA40-47C4622F17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280" y="3438271"/>
            <a:ext cx="5636069" cy="73152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lvl="0"/>
            <a:r>
              <a:rPr lang="en-US"/>
              <a:t>Supporting text for big thought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60676DF-D5A1-9A47-83F3-D2C9577DFC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64924" y="2057400"/>
            <a:ext cx="4900246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18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lang="en-US" sz="1600" b="0" i="0" smtClean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lang="en-US" sz="16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304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1A20A0B-C819-D633-B206-7C28ED49BB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7A901-20EC-7522-6DBB-49F5BC40C5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739" y="6448941"/>
            <a:ext cx="402739" cy="23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824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red and black circle with white plus&#10;&#10;Description automatically generated">
            <a:extLst>
              <a:ext uri="{FF2B5EF4-FFF2-40B4-BE49-F238E27FC236}">
                <a16:creationId xmlns:a16="http://schemas.microsoft.com/office/drawing/2014/main" id="{3F390BCA-77C8-7B71-4366-8ABA1BA3EA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096" y="6448943"/>
            <a:ext cx="402382" cy="238354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8AE9D37-FB14-BF34-3B62-3A32FAEBB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272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pic>
        <p:nvPicPr>
          <p:cNvPr id="6" name="Picture 5" descr="A black and white circle&#10;&#10;Description automatically generated">
            <a:extLst>
              <a:ext uri="{FF2B5EF4-FFF2-40B4-BE49-F238E27FC236}">
                <a16:creationId xmlns:a16="http://schemas.microsoft.com/office/drawing/2014/main" id="{350B03F6-B0D6-0084-0CB9-FAD768DE69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024" y="6443218"/>
            <a:ext cx="406525" cy="240904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49FC9CF-5D19-524B-4DC0-A4DEA3D62C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0954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Re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pic>
        <p:nvPicPr>
          <p:cNvPr id="6" name="Picture 5" descr="A black and white circle&#10;&#10;Description automatically generated">
            <a:extLst>
              <a:ext uri="{FF2B5EF4-FFF2-40B4-BE49-F238E27FC236}">
                <a16:creationId xmlns:a16="http://schemas.microsoft.com/office/drawing/2014/main" id="{350B03F6-B0D6-0084-0CB9-FAD768DE69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024" y="6443218"/>
            <a:ext cx="406525" cy="240904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F0F17D2-D36D-29B9-9DA8-9EF4511E6C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234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1A20A0B-C819-D633-B206-7C28ED49BB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A7A901-20EC-7522-6DBB-49F5BC40C5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739" y="6448941"/>
            <a:ext cx="402739" cy="238355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BC5A426-9742-0F61-FBA2-DAEEA0A4C3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615" y="765175"/>
            <a:ext cx="11270057" cy="49107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44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algn="l"/>
            <a:r>
              <a:rPr lang="en-IN">
                <a:effectLst/>
                <a:latin typeface="Helvetica for Target Light" panose="020B0304020202020204" pitchFamily="34" charset="77"/>
                <a:ea typeface="Helvetica for Target Light" panose="020B0304020202020204" pitchFamily="34" charset="77"/>
              </a:rPr>
              <a:t>Slide Title Here</a:t>
            </a:r>
          </a:p>
        </p:txBody>
      </p:sp>
      <p:sp>
        <p:nvSpPr>
          <p:cNvPr id="3" name="Text Placeholder 41">
            <a:extLst>
              <a:ext uri="{FF2B5EF4-FFF2-40B4-BE49-F238E27FC236}">
                <a16:creationId xmlns:a16="http://schemas.microsoft.com/office/drawing/2014/main" id="{8AFB6754-58D5-1476-886A-26668CBB0CD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6156" y="1429387"/>
            <a:ext cx="11230520" cy="2570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GB"/>
              <a:t>A sentence to setup the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113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Blank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red and black circle with white plus&#10;&#10;Description automatically generated">
            <a:extLst>
              <a:ext uri="{FF2B5EF4-FFF2-40B4-BE49-F238E27FC236}">
                <a16:creationId xmlns:a16="http://schemas.microsoft.com/office/drawing/2014/main" id="{3F390BCA-77C8-7B71-4366-8ABA1BA3EA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9096" y="6448943"/>
            <a:ext cx="402382" cy="238354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8AE9D37-FB14-BF34-3B62-3A32FAEBB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986E054-AA52-EF96-09C7-627CF36F2B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615" y="765175"/>
            <a:ext cx="11270057" cy="49107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algn="l"/>
            <a:r>
              <a:rPr lang="en-IN">
                <a:effectLst/>
                <a:latin typeface="Helvetica for Target Light" panose="020B0304020202020204" pitchFamily="34" charset="77"/>
                <a:ea typeface="Helvetica for Target Light" panose="020B0304020202020204" pitchFamily="34" charset="77"/>
              </a:rPr>
              <a:t>Slide Title Here</a:t>
            </a:r>
          </a:p>
        </p:txBody>
      </p:sp>
      <p:sp>
        <p:nvSpPr>
          <p:cNvPr id="6" name="Text Placeholder 41">
            <a:extLst>
              <a:ext uri="{FF2B5EF4-FFF2-40B4-BE49-F238E27FC236}">
                <a16:creationId xmlns:a16="http://schemas.microsoft.com/office/drawing/2014/main" id="{A68DC5D1-0445-78E0-D0A9-04A66E36310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6156" y="1429387"/>
            <a:ext cx="11230520" cy="2570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GB"/>
              <a:t>A sentence to setup the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758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Blank - Re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pic>
        <p:nvPicPr>
          <p:cNvPr id="6" name="Picture 5" descr="A black and white circle&#10;&#10;Description automatically generated">
            <a:extLst>
              <a:ext uri="{FF2B5EF4-FFF2-40B4-BE49-F238E27FC236}">
                <a16:creationId xmlns:a16="http://schemas.microsoft.com/office/drawing/2014/main" id="{350B03F6-B0D6-0084-0CB9-FAD768DE69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024" y="6443218"/>
            <a:ext cx="406525" cy="240904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49FC9CF-5D19-524B-4DC0-A4DEA3D62C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A8C1B56-E530-9872-2D47-47B68F9F4E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615" y="765175"/>
            <a:ext cx="11270057" cy="49107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algn="l"/>
            <a:r>
              <a:rPr lang="en-IN">
                <a:effectLst/>
                <a:latin typeface="Helvetica for Target Light" panose="020B0304020202020204" pitchFamily="34" charset="77"/>
                <a:ea typeface="Helvetica for Target Light" panose="020B0304020202020204" pitchFamily="34" charset="77"/>
              </a:rPr>
              <a:t>Slide Title Here</a:t>
            </a:r>
          </a:p>
        </p:txBody>
      </p:sp>
      <p:sp>
        <p:nvSpPr>
          <p:cNvPr id="7" name="Text Placeholder 41">
            <a:extLst>
              <a:ext uri="{FF2B5EF4-FFF2-40B4-BE49-F238E27FC236}">
                <a16:creationId xmlns:a16="http://schemas.microsoft.com/office/drawing/2014/main" id="{84E1DC0C-292B-69B9-0C22-CEFD81B27F3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6156" y="1429387"/>
            <a:ext cx="11230520" cy="2570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GB"/>
              <a:t>A sentence to setup the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779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Blank - TRe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A0085FE-0E04-87D6-45EF-9FFCC7636FC6}"/>
              </a:ext>
            </a:extLst>
          </p:cNvPr>
          <p:cNvSpPr/>
          <p:nvPr userDrawn="1"/>
        </p:nvSpPr>
        <p:spPr>
          <a:xfrm>
            <a:off x="285649" y="6375239"/>
            <a:ext cx="549276" cy="36512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pic>
        <p:nvPicPr>
          <p:cNvPr id="6" name="Picture 5" descr="A black and white circle&#10;&#10;Description automatically generated">
            <a:extLst>
              <a:ext uri="{FF2B5EF4-FFF2-40B4-BE49-F238E27FC236}">
                <a16:creationId xmlns:a16="http://schemas.microsoft.com/office/drawing/2014/main" id="{350B03F6-B0D6-0084-0CB9-FAD768DE69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024" y="6443218"/>
            <a:ext cx="406525" cy="240904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F0F17D2-D36D-29B9-9DA8-9EF4511E6C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2590" y="6374537"/>
            <a:ext cx="506537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D5AF9F6-CF8D-4642-BA3D-BE2DA626AEE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CA84C3F-0234-B8E3-DB53-D6D049994B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615" y="765175"/>
            <a:ext cx="11270057" cy="49107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</a:lstStyle>
          <a:p>
            <a:pPr algn="l"/>
            <a:r>
              <a:rPr lang="en-IN">
                <a:effectLst/>
                <a:latin typeface="Helvetica for Target Light" panose="020B0304020202020204" pitchFamily="34" charset="77"/>
                <a:ea typeface="Helvetica for Target Light" panose="020B0304020202020204" pitchFamily="34" charset="77"/>
              </a:rPr>
              <a:t>Slide Title Here</a:t>
            </a:r>
          </a:p>
        </p:txBody>
      </p:sp>
      <p:sp>
        <p:nvSpPr>
          <p:cNvPr id="7" name="Text Placeholder 41">
            <a:extLst>
              <a:ext uri="{FF2B5EF4-FFF2-40B4-BE49-F238E27FC236}">
                <a16:creationId xmlns:a16="http://schemas.microsoft.com/office/drawing/2014/main" id="{222206EA-2867-B2DC-686B-7BB3CFC0AC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6156" y="1429387"/>
            <a:ext cx="11230520" cy="2570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b="0" i="0">
                <a:solidFill>
                  <a:schemeClr val="tx1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1pPr>
            <a:lvl2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2pPr>
            <a:lvl3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3pPr>
            <a:lvl4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4pPr>
            <a:lvl5pPr>
              <a:defRPr sz="1100" b="0" i="0">
                <a:solidFill>
                  <a:srgbClr val="000000"/>
                </a:solidFill>
                <a:latin typeface="Helvetica for Target Light" panose="020B0304020202020204" pitchFamily="34" charset="77"/>
                <a:ea typeface="Helvetica for Target Light" panose="020B0304020202020204" pitchFamily="34" charset="77"/>
              </a:defRPr>
            </a:lvl5pPr>
          </a:lstStyle>
          <a:p>
            <a:pPr lvl="0"/>
            <a:r>
              <a:rPr lang="en-GB"/>
              <a:t>A sentence to setup the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34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48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 bwMode="gray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8.23_Home_3P_Pilot_Update_v2.pptx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9404A42-CB34-4C8A-98CB-2BDFCEA17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368300" y="4126821"/>
            <a:ext cx="11455400" cy="2016072"/>
          </a:xfrm>
          <a:prstGeom prst="rect">
            <a:avLst/>
          </a:prstGeom>
          <a:ln w="9525">
            <a:noFill/>
          </a:ln>
        </p:spPr>
        <p:txBody>
          <a:bodyPr lIns="0" tIns="0" rIns="0" bIns="0" anchor="t">
            <a:noAutofit/>
          </a:bodyPr>
          <a:lstStyle>
            <a:lvl1pPr marL="0" algn="ctr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opi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7F8838-3BDF-4E4C-AD89-F10F54D1EAA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272726" y="1881910"/>
            <a:ext cx="1646548" cy="1645623"/>
            <a:chOff x="3595688" y="-3743325"/>
            <a:chExt cx="5648325" cy="5645150"/>
          </a:xfrm>
        </p:grpSpPr>
        <p:sp>
          <p:nvSpPr>
            <p:cNvPr id="11" name="Freeform 310">
              <a:extLst>
                <a:ext uri="{FF2B5EF4-FFF2-40B4-BE49-F238E27FC236}">
                  <a16:creationId xmlns:a16="http://schemas.microsoft.com/office/drawing/2014/main" id="{E586C71A-EE59-4655-B231-B70CE01B14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311">
              <a:extLst>
                <a:ext uri="{FF2B5EF4-FFF2-40B4-BE49-F238E27FC236}">
                  <a16:creationId xmlns:a16="http://schemas.microsoft.com/office/drawing/2014/main" id="{88EC04A9-59A8-422E-9A7C-196D8BF76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8130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707C9E-6E89-4C81-A3B4-1A1DBBAFDD5F}"/>
              </a:ext>
            </a:extLst>
          </p:cNvPr>
          <p:cNvSpPr/>
          <p:nvPr userDrawn="1"/>
        </p:nvSpPr>
        <p:spPr>
          <a:xfrm flipH="1">
            <a:off x="0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3507" y="2812768"/>
            <a:ext cx="7401464" cy="716866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3507" y="3529635"/>
            <a:ext cx="7401464" cy="716866"/>
          </a:xfrm>
          <a:prstGeom prst="rect">
            <a:avLst/>
          </a:prstGeom>
        </p:spPr>
        <p:txBody>
          <a:bodyPr vert="horz" wrap="square" lIns="91440" tIns="90000" rIns="9144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4236C51-CABF-425F-8C1E-9736D4755F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3507" y="5914042"/>
            <a:ext cx="1760537" cy="368300"/>
          </a:xfrm>
        </p:spPr>
        <p:txBody>
          <a:bodyPr lIns="90000" tIns="46800" rIns="90000" bIns="46800" anchor="ctr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8186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Line 62"/>
          <p:cNvSpPr>
            <a:spLocks noChangeShapeType="1"/>
          </p:cNvSpPr>
          <p:nvPr userDrawn="1"/>
        </p:nvSpPr>
        <p:spPr bwMode="auto">
          <a:xfrm>
            <a:off x="3592142" y="3716867"/>
            <a:ext cx="0" cy="178723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159" y="3716868"/>
            <a:ext cx="7577295" cy="499689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4159" y="4318157"/>
            <a:ext cx="7577295" cy="1938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DF3C0B-FE9D-4B05-A34D-1F35D2D9AF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09153" y="3874305"/>
            <a:ext cx="1140973" cy="1140332"/>
            <a:chOff x="3595688" y="-3743325"/>
            <a:chExt cx="5648325" cy="5645150"/>
          </a:xfrm>
        </p:grpSpPr>
        <p:sp>
          <p:nvSpPr>
            <p:cNvPr id="20" name="Freeform 310">
              <a:extLst>
                <a:ext uri="{FF2B5EF4-FFF2-40B4-BE49-F238E27FC236}">
                  <a16:creationId xmlns:a16="http://schemas.microsoft.com/office/drawing/2014/main" id="{F8C87227-4DD3-4528-92C8-D2EC1FF432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Oval 311">
              <a:extLst>
                <a:ext uri="{FF2B5EF4-FFF2-40B4-BE49-F238E27FC236}">
                  <a16:creationId xmlns:a16="http://schemas.microsoft.com/office/drawing/2014/main" id="{EA083CC1-0BD5-4AD6-ADAC-8E238BBC3A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72B429A-16F4-4B14-AA74-02707A1B08C2}"/>
              </a:ext>
            </a:extLst>
          </p:cNvPr>
          <p:cNvSpPr/>
          <p:nvPr userDrawn="1"/>
        </p:nvSpPr>
        <p:spPr>
          <a:xfrm>
            <a:off x="1926886" y="5080289"/>
            <a:ext cx="1705506" cy="39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100">
                <a:solidFill>
                  <a:schemeClr val="tx1"/>
                </a:solidFill>
                <a:cs typeface="Arial"/>
              </a:rPr>
              <a:t> Enterprise Strategy Develop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C7756-066E-4091-9827-BE3E4F6309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4159" y="5135797"/>
            <a:ext cx="1760537" cy="368300"/>
          </a:xfrm>
        </p:spPr>
        <p:txBody>
          <a:bodyPr lIns="0" tIns="46800" rIns="90000" bIns="46800" anchor="b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6217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707C9E-6E89-4C81-A3B4-1A1DBBAFDD5F}"/>
              </a:ext>
            </a:extLst>
          </p:cNvPr>
          <p:cNvSpPr/>
          <p:nvPr userDrawn="1"/>
        </p:nvSpPr>
        <p:spPr>
          <a:xfrm flipH="1">
            <a:off x="0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25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3507" y="2812768"/>
            <a:ext cx="7401464" cy="716866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3507" y="3529635"/>
            <a:ext cx="7401464" cy="716866"/>
          </a:xfrm>
          <a:prstGeom prst="rect">
            <a:avLst/>
          </a:prstGeom>
        </p:spPr>
        <p:txBody>
          <a:bodyPr vert="horz" wrap="square" lIns="91440" tIns="90000" rIns="9144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4236C51-CABF-425F-8C1E-9736D4755F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3507" y="5914042"/>
            <a:ext cx="1760537" cy="368300"/>
          </a:xfrm>
        </p:spPr>
        <p:txBody>
          <a:bodyPr lIns="90000" tIns="46800" rIns="90000" bIns="46800" anchor="ctr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2611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038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Line 62"/>
          <p:cNvSpPr>
            <a:spLocks noChangeShapeType="1"/>
          </p:cNvSpPr>
          <p:nvPr userDrawn="1"/>
        </p:nvSpPr>
        <p:spPr bwMode="auto">
          <a:xfrm>
            <a:off x="3592142" y="3716867"/>
            <a:ext cx="0" cy="178723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noAutofit/>
          </a:bodyPr>
          <a:lstStyle/>
          <a:p>
            <a:endParaRPr lang="en-US" sz="16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C2C847-2A06-4A36-A032-230CD7CA7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159" y="3716868"/>
            <a:ext cx="7577295" cy="499689"/>
          </a:xfrm>
        </p:spPr>
        <p:txBody>
          <a:bodyPr anchor="t"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03A893-DE26-420B-9352-110A1700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4159" y="4318157"/>
            <a:ext cx="7577295" cy="1938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accent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BDF3C0B-FE9D-4B05-A34D-1F35D2D9AF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209153" y="3874305"/>
            <a:ext cx="1140973" cy="1140332"/>
            <a:chOff x="3595688" y="-3743325"/>
            <a:chExt cx="5648325" cy="5645150"/>
          </a:xfrm>
        </p:grpSpPr>
        <p:sp>
          <p:nvSpPr>
            <p:cNvPr id="20" name="Freeform 310">
              <a:extLst>
                <a:ext uri="{FF2B5EF4-FFF2-40B4-BE49-F238E27FC236}">
                  <a16:creationId xmlns:a16="http://schemas.microsoft.com/office/drawing/2014/main" id="{F8C87227-4DD3-4528-92C8-D2EC1FF432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95688" y="-3743325"/>
              <a:ext cx="5648325" cy="5645150"/>
            </a:xfrm>
            <a:custGeom>
              <a:avLst/>
              <a:gdLst>
                <a:gd name="T0" fmla="*/ 1498 w 1498"/>
                <a:gd name="T1" fmla="*/ 749 h 1497"/>
                <a:gd name="T2" fmla="*/ 749 w 1498"/>
                <a:gd name="T3" fmla="*/ 1497 h 1497"/>
                <a:gd name="T4" fmla="*/ 0 w 1498"/>
                <a:gd name="T5" fmla="*/ 749 h 1497"/>
                <a:gd name="T6" fmla="*/ 749 w 1498"/>
                <a:gd name="T7" fmla="*/ 0 h 1497"/>
                <a:gd name="T8" fmla="*/ 1498 w 1498"/>
                <a:gd name="T9" fmla="*/ 749 h 1497"/>
                <a:gd name="T10" fmla="*/ 749 w 1498"/>
                <a:gd name="T11" fmla="*/ 249 h 1497"/>
                <a:gd name="T12" fmla="*/ 249 w 1498"/>
                <a:gd name="T13" fmla="*/ 749 h 1497"/>
                <a:gd name="T14" fmla="*/ 749 w 1498"/>
                <a:gd name="T15" fmla="*/ 1248 h 1497"/>
                <a:gd name="T16" fmla="*/ 1248 w 1498"/>
                <a:gd name="T17" fmla="*/ 749 h 1497"/>
                <a:gd name="T18" fmla="*/ 749 w 1498"/>
                <a:gd name="T19" fmla="*/ 249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8" h="1497">
                  <a:moveTo>
                    <a:pt x="1498" y="749"/>
                  </a:moveTo>
                  <a:cubicBezTo>
                    <a:pt x="1498" y="1162"/>
                    <a:pt x="1162" y="1497"/>
                    <a:pt x="749" y="1497"/>
                  </a:cubicBezTo>
                  <a:cubicBezTo>
                    <a:pt x="335" y="1497"/>
                    <a:pt x="0" y="1162"/>
                    <a:pt x="0" y="749"/>
                  </a:cubicBezTo>
                  <a:cubicBezTo>
                    <a:pt x="0" y="335"/>
                    <a:pt x="335" y="0"/>
                    <a:pt x="749" y="0"/>
                  </a:cubicBezTo>
                  <a:cubicBezTo>
                    <a:pt x="1162" y="0"/>
                    <a:pt x="1498" y="335"/>
                    <a:pt x="1498" y="749"/>
                  </a:cubicBezTo>
                  <a:close/>
                  <a:moveTo>
                    <a:pt x="749" y="249"/>
                  </a:moveTo>
                  <a:cubicBezTo>
                    <a:pt x="473" y="249"/>
                    <a:pt x="249" y="473"/>
                    <a:pt x="249" y="749"/>
                  </a:cubicBezTo>
                  <a:cubicBezTo>
                    <a:pt x="249" y="1024"/>
                    <a:pt x="473" y="1248"/>
                    <a:pt x="749" y="1248"/>
                  </a:cubicBezTo>
                  <a:cubicBezTo>
                    <a:pt x="1024" y="1248"/>
                    <a:pt x="1248" y="1024"/>
                    <a:pt x="1248" y="749"/>
                  </a:cubicBezTo>
                  <a:cubicBezTo>
                    <a:pt x="1248" y="473"/>
                    <a:pt x="1024" y="249"/>
                    <a:pt x="749" y="2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1" name="Oval 311">
              <a:extLst>
                <a:ext uri="{FF2B5EF4-FFF2-40B4-BE49-F238E27FC236}">
                  <a16:creationId xmlns:a16="http://schemas.microsoft.com/office/drawing/2014/main" id="{EA083CC1-0BD5-4AD6-ADAC-8E238BBC3A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76" y="-1862138"/>
              <a:ext cx="1881188" cy="18827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72B429A-16F4-4B14-AA74-02707A1B08C2}"/>
              </a:ext>
            </a:extLst>
          </p:cNvPr>
          <p:cNvSpPr/>
          <p:nvPr userDrawn="1"/>
        </p:nvSpPr>
        <p:spPr>
          <a:xfrm>
            <a:off x="1926886" y="5080289"/>
            <a:ext cx="1705506" cy="39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100">
                <a:solidFill>
                  <a:schemeClr val="tx1"/>
                </a:solidFill>
                <a:cs typeface="Arial"/>
              </a:rPr>
              <a:t> Enterprise Strategy Develop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6C7756-066E-4091-9827-BE3E4F6309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4159" y="5135797"/>
            <a:ext cx="1760537" cy="368300"/>
          </a:xfrm>
        </p:spPr>
        <p:txBody>
          <a:bodyPr lIns="0" tIns="46800" rIns="90000" bIns="46800" anchor="b"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4681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909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88466B-F716-4DFC-8AAA-8C14E8522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D26B7-BAFC-4F12-AB35-9ABA458E0E7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6875" y="1309657"/>
            <a:ext cx="11449030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940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309657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E9827D9C-3829-4CA5-B61F-5D05F5286DC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324400" y="1309657"/>
            <a:ext cx="6521505" cy="48514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4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858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 Grey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FEB5D154-310B-4B14-A652-1911E81A0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1471814"/>
            <a:ext cx="6730920" cy="609398"/>
          </a:xfrm>
        </p:spPr>
        <p:txBody>
          <a:bodyPr vert="horz" anchor="b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5265F62-23B1-4E33-8B37-3B320E31B827}"/>
              </a:ext>
            </a:extLst>
          </p:cNvPr>
          <p:cNvSpPr/>
          <p:nvPr userDrawn="1"/>
        </p:nvSpPr>
        <p:spPr>
          <a:xfrm>
            <a:off x="8761073" y="0"/>
            <a:ext cx="3430927" cy="6858000"/>
          </a:xfrm>
          <a:custGeom>
            <a:avLst/>
            <a:gdLst>
              <a:gd name="connsiteX0" fmla="*/ 3428036 w 3430927"/>
              <a:gd name="connsiteY0" fmla="*/ 2285357 h 6858000"/>
              <a:gd name="connsiteX1" fmla="*/ 3430927 w 3430927"/>
              <a:gd name="connsiteY1" fmla="*/ 2285503 h 6858000"/>
              <a:gd name="connsiteX2" fmla="*/ 3430927 w 3430927"/>
              <a:gd name="connsiteY2" fmla="*/ 4572497 h 6858000"/>
              <a:gd name="connsiteX3" fmla="*/ 3428036 w 3430927"/>
              <a:gd name="connsiteY3" fmla="*/ 4572643 h 6858000"/>
              <a:gd name="connsiteX4" fmla="*/ 2285357 w 3430927"/>
              <a:gd name="connsiteY4" fmla="*/ 3429000 h 6858000"/>
              <a:gd name="connsiteX5" fmla="*/ 3428036 w 3430927"/>
              <a:gd name="connsiteY5" fmla="*/ 2285357 h 6858000"/>
              <a:gd name="connsiteX6" fmla="*/ 3430926 w 3430927"/>
              <a:gd name="connsiteY6" fmla="*/ 0 h 6858000"/>
              <a:gd name="connsiteX7" fmla="*/ 3430926 w 3430927"/>
              <a:gd name="connsiteY7" fmla="*/ 1148080 h 6858000"/>
              <a:gd name="connsiteX8" fmla="*/ 3197585 w 3430927"/>
              <a:gd name="connsiteY8" fmla="*/ 1159856 h 6858000"/>
              <a:gd name="connsiteX9" fmla="*/ 1148725 w 3430927"/>
              <a:gd name="connsiteY9" fmla="*/ 3429000 h 6858000"/>
              <a:gd name="connsiteX10" fmla="*/ 3197585 w 3430927"/>
              <a:gd name="connsiteY10" fmla="*/ 5698144 h 6858000"/>
              <a:gd name="connsiteX11" fmla="*/ 3430926 w 3430927"/>
              <a:gd name="connsiteY11" fmla="*/ 5709920 h 6858000"/>
              <a:gd name="connsiteX12" fmla="*/ 3430926 w 3430927"/>
              <a:gd name="connsiteY12" fmla="*/ 6858000 h 6858000"/>
              <a:gd name="connsiteX13" fmla="*/ 3254372 w 3430927"/>
              <a:gd name="connsiteY13" fmla="*/ 6853538 h 6858000"/>
              <a:gd name="connsiteX14" fmla="*/ 0 w 3430927"/>
              <a:gd name="connsiteY14" fmla="*/ 3429000 h 6858000"/>
              <a:gd name="connsiteX15" fmla="*/ 3254372 w 3430927"/>
              <a:gd name="connsiteY15" fmla="*/ 446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30927" h="6858000">
                <a:moveTo>
                  <a:pt x="3428036" y="2285357"/>
                </a:moveTo>
                <a:lnTo>
                  <a:pt x="3430927" y="2285503"/>
                </a:lnTo>
                <a:lnTo>
                  <a:pt x="3430927" y="4572497"/>
                </a:lnTo>
                <a:lnTo>
                  <a:pt x="3428036" y="4572643"/>
                </a:lnTo>
                <a:cubicBezTo>
                  <a:pt x="2796952" y="4572643"/>
                  <a:pt x="2285357" y="4060617"/>
                  <a:pt x="2285357" y="3429000"/>
                </a:cubicBezTo>
                <a:cubicBezTo>
                  <a:pt x="2285357" y="2797383"/>
                  <a:pt x="2796952" y="2285357"/>
                  <a:pt x="3428036" y="2285357"/>
                </a:cubicBezTo>
                <a:close/>
                <a:moveTo>
                  <a:pt x="3430926" y="0"/>
                </a:moveTo>
                <a:lnTo>
                  <a:pt x="3430926" y="1148080"/>
                </a:lnTo>
                <a:lnTo>
                  <a:pt x="3197585" y="1159856"/>
                </a:lnTo>
                <a:cubicBezTo>
                  <a:pt x="2046771" y="1276662"/>
                  <a:pt x="1148725" y="2248016"/>
                  <a:pt x="1148725" y="3429000"/>
                </a:cubicBezTo>
                <a:cubicBezTo>
                  <a:pt x="1148725" y="4609985"/>
                  <a:pt x="2046771" y="5581338"/>
                  <a:pt x="3197585" y="5698144"/>
                </a:cubicBezTo>
                <a:lnTo>
                  <a:pt x="3430926" y="5709920"/>
                </a:lnTo>
                <a:lnTo>
                  <a:pt x="3430926" y="6858000"/>
                </a:lnTo>
                <a:lnTo>
                  <a:pt x="3254372" y="6853538"/>
                </a:lnTo>
                <a:cubicBezTo>
                  <a:pt x="1441574" y="6761699"/>
                  <a:pt x="0" y="5263604"/>
                  <a:pt x="0" y="3429000"/>
                </a:cubicBezTo>
                <a:cubicBezTo>
                  <a:pt x="0" y="1594397"/>
                  <a:pt x="1441574" y="96301"/>
                  <a:pt x="3254372" y="4462"/>
                </a:cubicBez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805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7F7F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20325_Killer Slides Master_vF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rgbClr val="FFFFFF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680528-B5BF-4B4C-9B51-9EE15DE76A92}"/>
              </a:ext>
            </a:extLst>
          </p:cNvPr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79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75.xml"/><Relationship Id="rId47" Type="http://schemas.openxmlformats.org/officeDocument/2006/relationships/slideLayout" Target="../slideLayouts/slideLayout80.xml"/><Relationship Id="rId50" Type="http://schemas.openxmlformats.org/officeDocument/2006/relationships/tags" Target="../tags/tag63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73.xml"/><Relationship Id="rId45" Type="http://schemas.openxmlformats.org/officeDocument/2006/relationships/slideLayout" Target="../slideLayouts/slideLayout78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4" Type="http://schemas.openxmlformats.org/officeDocument/2006/relationships/slideLayout" Target="../slideLayouts/slideLayout77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76.xml"/><Relationship Id="rId48" Type="http://schemas.openxmlformats.org/officeDocument/2006/relationships/slideLayout" Target="../slideLayouts/slideLayout81.xml"/><Relationship Id="rId8" Type="http://schemas.openxmlformats.org/officeDocument/2006/relationships/slideLayout" Target="../slideLayouts/slideLayout41.xml"/><Relationship Id="rId51" Type="http://schemas.openxmlformats.org/officeDocument/2006/relationships/oleObject" Target="../embeddings/oleObject35.bin"/><Relationship Id="rId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74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oleObject" Target="../embeddings/oleObject35.bin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8" Type="http://schemas.openxmlformats.org/officeDocument/2006/relationships/slideLayout" Target="../slideLayouts/slideLayout97.xml"/><Relationship Id="rId51" Type="http://schemas.openxmlformats.org/officeDocument/2006/relationships/tags" Target="../tags/tag134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96875" y="351294"/>
            <a:ext cx="1144903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6875" y="1309657"/>
            <a:ext cx="11449030" cy="4851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546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  <p:sldLayoutId id="2147483788" r:id="rId28"/>
    <p:sldLayoutId id="2147483789" r:id="rId29"/>
    <p:sldLayoutId id="2147483790" r:id="rId30"/>
    <p:sldLayoutId id="2147483791" r:id="rId31"/>
    <p:sldLayoutId id="2147483792" r:id="rId32"/>
    <p:sldLayoutId id="2147483793" r:id="rId3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Arial" panose="020B0604020202020204" pitchFamily="34" charset="0"/>
        <a:buChar char="•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Trebuchet MS" panose="020B0603020202020204" pitchFamily="34" charset="0"/>
        <a:buChar char="–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200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2000" b="1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US" sz="2000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250">
          <p15:clr>
            <a:srgbClr val="F26B43"/>
          </p15:clr>
        </p15:guide>
        <p15:guide id="3" pos="7466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96875" y="351294"/>
            <a:ext cx="1144903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6875" y="1309657"/>
            <a:ext cx="11449030" cy="4851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41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  <p:sldLayoutId id="2147483831" r:id="rId37"/>
    <p:sldLayoutId id="2147483832" r:id="rId38"/>
    <p:sldLayoutId id="2147483833" r:id="rId39"/>
    <p:sldLayoutId id="2147483834" r:id="rId40"/>
    <p:sldLayoutId id="2147483835" r:id="rId41"/>
    <p:sldLayoutId id="2147483836" r:id="rId42"/>
    <p:sldLayoutId id="2147483837" r:id="rId43"/>
    <p:sldLayoutId id="2147483838" r:id="rId44"/>
    <p:sldLayoutId id="2147483840" r:id="rId45"/>
    <p:sldLayoutId id="2147483841" r:id="rId46"/>
    <p:sldLayoutId id="2147483842" r:id="rId47"/>
    <p:sldLayoutId id="2147483843" r:id="rId4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Arial" panose="020B0604020202020204" pitchFamily="34" charset="0"/>
        <a:buChar char="•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Trebuchet MS" panose="020B0603020202020204" pitchFamily="34" charset="0"/>
        <a:buChar char="–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200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2000" b="1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US" sz="2000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250">
          <p15:clr>
            <a:srgbClr val="F26B43"/>
          </p15:clr>
        </p15:guide>
        <p15:guide id="3" pos="7466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6593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82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pos="50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96875" y="351294"/>
            <a:ext cx="1144903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6875" y="1309657"/>
            <a:ext cx="11449030" cy="4851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64905" y="640503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accent4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372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2" r:id="rId27"/>
    <p:sldLayoutId id="2147483933" r:id="rId28"/>
    <p:sldLayoutId id="2147483934" r:id="rId29"/>
    <p:sldLayoutId id="2147483935" r:id="rId30"/>
    <p:sldLayoutId id="2147483936" r:id="rId31"/>
    <p:sldLayoutId id="2147483937" r:id="rId32"/>
    <p:sldLayoutId id="2147483938" r:id="rId33"/>
    <p:sldLayoutId id="2147483939" r:id="rId34"/>
    <p:sldLayoutId id="2147483940" r:id="rId35"/>
    <p:sldLayoutId id="2147483941" r:id="rId36"/>
    <p:sldLayoutId id="2147483942" r:id="rId37"/>
    <p:sldLayoutId id="2147483943" r:id="rId38"/>
    <p:sldLayoutId id="2147483944" r:id="rId39"/>
    <p:sldLayoutId id="2147483945" r:id="rId40"/>
    <p:sldLayoutId id="2147483946" r:id="rId41"/>
    <p:sldLayoutId id="2147483947" r:id="rId42"/>
    <p:sldLayoutId id="2147483948" r:id="rId43"/>
    <p:sldLayoutId id="2147483949" r:id="rId44"/>
    <p:sldLayoutId id="2147483951" r:id="rId45"/>
    <p:sldLayoutId id="2147483952" r:id="rId46"/>
    <p:sldLayoutId id="2147483953" r:id="rId47"/>
    <p:sldLayoutId id="2147483954" r:id="rId48"/>
    <p:sldLayoutId id="2147483955" r:id="rId4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Arial" panose="020B0604020202020204" pitchFamily="34" charset="0"/>
        <a:buChar char="•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Font typeface="Trebuchet MS" panose="020B0603020202020204" pitchFamily="34" charset="0"/>
        <a:buChar char="–"/>
        <a:defRPr lang="en-US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2000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2000" b="1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US" sz="2000" kern="120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accent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250">
          <p15:clr>
            <a:srgbClr val="F26B43"/>
          </p15:clr>
        </p15:guide>
        <p15:guide id="3" pos="7466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E9B6FC-9357-4C69-65A9-4322BCFA7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FA3E3B-C47A-8E4E-2D00-9CB779643629}"/>
              </a:ext>
            </a:extLst>
          </p:cNvPr>
          <p:cNvCxnSpPr>
            <a:cxnSpLocks/>
          </p:cNvCxnSpPr>
          <p:nvPr/>
        </p:nvCxnSpPr>
        <p:spPr>
          <a:xfrm flipH="1">
            <a:off x="7763087" y="695886"/>
            <a:ext cx="2974855" cy="0"/>
          </a:xfrm>
          <a:prstGeom prst="line">
            <a:avLst/>
          </a:prstGeom>
          <a:ln w="190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7B29EA9-5573-FC83-50DC-A6143B2772FB}"/>
              </a:ext>
            </a:extLst>
          </p:cNvPr>
          <p:cNvCxnSpPr>
            <a:cxnSpLocks/>
          </p:cNvCxnSpPr>
          <p:nvPr/>
        </p:nvCxnSpPr>
        <p:spPr>
          <a:xfrm flipH="1">
            <a:off x="1565923" y="697879"/>
            <a:ext cx="2974855" cy="0"/>
          </a:xfrm>
          <a:prstGeom prst="line">
            <a:avLst/>
          </a:prstGeom>
          <a:ln w="190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22CDBEA-B8FE-E484-A948-1194B6126D4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73536" y="1014629"/>
            <a:ext cx="2967362" cy="2531211"/>
          </a:xfrm>
          <a:prstGeom prst="roundRect">
            <a:avLst>
              <a:gd name="adj" fmla="val 3114"/>
            </a:avLst>
          </a:prstGeom>
          <a:solidFill>
            <a:schemeClr val="tx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45D4B91-B4B6-EB7A-9787-AA6C714C10D1}"/>
              </a:ext>
            </a:extLst>
          </p:cNvPr>
          <p:cNvSpPr/>
          <p:nvPr/>
        </p:nvSpPr>
        <p:spPr>
          <a:xfrm>
            <a:off x="9173777" y="1007845"/>
            <a:ext cx="2962656" cy="731520"/>
          </a:xfrm>
          <a:prstGeom prst="roundRect">
            <a:avLst>
              <a:gd name="adj" fmla="val 1387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164F0CC-512E-2843-C5CD-769CF9E04D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30876" y="1014629"/>
            <a:ext cx="2963137" cy="5352027"/>
          </a:xfrm>
          <a:prstGeom prst="roundRect">
            <a:avLst>
              <a:gd name="adj" fmla="val 3114"/>
            </a:avLst>
          </a:prstGeom>
          <a:solidFill>
            <a:schemeClr val="tx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12F978-5923-7498-9450-F9B0E94CD5A9}"/>
              </a:ext>
            </a:extLst>
          </p:cNvPr>
          <p:cNvCxnSpPr>
            <a:cxnSpLocks/>
          </p:cNvCxnSpPr>
          <p:nvPr/>
        </p:nvCxnSpPr>
        <p:spPr>
          <a:xfrm flipH="1">
            <a:off x="4624629" y="697879"/>
            <a:ext cx="2974855" cy="0"/>
          </a:xfrm>
          <a:prstGeom prst="line">
            <a:avLst/>
          </a:prstGeom>
          <a:ln w="19050" cap="flat" cmpd="sng" algn="ctr">
            <a:solidFill>
              <a:schemeClr val="bg2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9878FF5E-7E9A-DEDD-4039-75898C208B36}"/>
              </a:ext>
            </a:extLst>
          </p:cNvPr>
          <p:cNvSpPr/>
          <p:nvPr/>
        </p:nvSpPr>
        <p:spPr>
          <a:xfrm>
            <a:off x="7397433" y="461973"/>
            <a:ext cx="457200" cy="4572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Aptos" panose="020B0004020202020204" pitchFamily="34" charset="0"/>
                <a:ea typeface="Helvetica for Target Heavy" panose="020B0804020202020204" pitchFamily="34" charset="0"/>
              </a:rPr>
              <a:t>Q3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13F76E4-145C-7AEF-E1FF-6B2C11AD8EBC}"/>
              </a:ext>
            </a:extLst>
          </p:cNvPr>
          <p:cNvSpPr/>
          <p:nvPr/>
        </p:nvSpPr>
        <p:spPr>
          <a:xfrm>
            <a:off x="6130158" y="1007845"/>
            <a:ext cx="2962656" cy="731520"/>
          </a:xfrm>
          <a:prstGeom prst="roundRect">
            <a:avLst>
              <a:gd name="adj" fmla="val 13872"/>
            </a:avLst>
          </a:prstGeom>
          <a:solidFill>
            <a:schemeClr val="tx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2AC5B4D-53D9-5224-2D3B-754526EC226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86606" y="1014629"/>
            <a:ext cx="2964747" cy="5352027"/>
          </a:xfrm>
          <a:prstGeom prst="roundRect">
            <a:avLst>
              <a:gd name="adj" fmla="val 3114"/>
            </a:avLst>
          </a:prstGeom>
          <a:solidFill>
            <a:schemeClr val="tx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9A14A1-D7AE-329A-A52E-2E19759600C4}"/>
              </a:ext>
            </a:extLst>
          </p:cNvPr>
          <p:cNvSpPr/>
          <p:nvPr/>
        </p:nvSpPr>
        <p:spPr>
          <a:xfrm>
            <a:off x="3086346" y="1007845"/>
            <a:ext cx="2962656" cy="731520"/>
          </a:xfrm>
          <a:prstGeom prst="roundRect">
            <a:avLst>
              <a:gd name="adj" fmla="val 13872"/>
            </a:avLst>
          </a:prstGeom>
          <a:solidFill>
            <a:schemeClr val="tx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4724014-1DA7-494A-AA62-18C5BDB64C7A}"/>
              </a:ext>
            </a:extLst>
          </p:cNvPr>
          <p:cNvSpPr/>
          <p:nvPr/>
        </p:nvSpPr>
        <p:spPr>
          <a:xfrm>
            <a:off x="4325447" y="461973"/>
            <a:ext cx="457200" cy="4572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Aptos" panose="020B0004020202020204" pitchFamily="34" charset="0"/>
                <a:ea typeface="Helvetica for Target Heavy" panose="020B0804020202020204" pitchFamily="34" charset="0"/>
              </a:rPr>
              <a:t>Q2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098F2B5D-C8F7-CF3A-B658-6909C66C2160}"/>
              </a:ext>
            </a:extLst>
          </p:cNvPr>
          <p:cNvSpPr/>
          <p:nvPr/>
        </p:nvSpPr>
        <p:spPr>
          <a:xfrm>
            <a:off x="42922" y="1014629"/>
            <a:ext cx="2964161" cy="5352027"/>
          </a:xfrm>
          <a:prstGeom prst="roundRect">
            <a:avLst>
              <a:gd name="adj" fmla="val 3114"/>
            </a:avLst>
          </a:prstGeom>
          <a:solidFill>
            <a:schemeClr val="tx1">
              <a:lumMod val="60000"/>
              <a:lumOff val="40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4FAA7C0-E20C-19F4-8626-D85C22E5C3A6}"/>
              </a:ext>
            </a:extLst>
          </p:cNvPr>
          <p:cNvSpPr/>
          <p:nvPr/>
        </p:nvSpPr>
        <p:spPr>
          <a:xfrm>
            <a:off x="42922" y="1007845"/>
            <a:ext cx="2962656" cy="731520"/>
          </a:xfrm>
          <a:prstGeom prst="roundRect">
            <a:avLst>
              <a:gd name="adj" fmla="val 13872"/>
            </a:avLst>
          </a:prstGeom>
          <a:solidFill>
            <a:schemeClr val="tx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C5B9B1A-28A2-CA24-E0C4-2BA5C3B0C73A}"/>
              </a:ext>
            </a:extLst>
          </p:cNvPr>
          <p:cNvSpPr/>
          <p:nvPr/>
        </p:nvSpPr>
        <p:spPr>
          <a:xfrm>
            <a:off x="1305774" y="461973"/>
            <a:ext cx="457200" cy="4572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Helvetica for Target Heavy" panose="020B0804020202020204" pitchFamily="34" charset="0"/>
                <a:cs typeface="+mn-cs"/>
              </a:rPr>
              <a:t>Q1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2C831D6-4D8A-E85E-BA23-135A20DEC07B}"/>
              </a:ext>
            </a:extLst>
          </p:cNvPr>
          <p:cNvSpPr txBox="1"/>
          <p:nvPr/>
        </p:nvSpPr>
        <p:spPr>
          <a:xfrm>
            <a:off x="153570" y="1119116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Count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Revenue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$ -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CE2B4ED-AD9E-834D-2908-998163141922}"/>
              </a:ext>
            </a:extLst>
          </p:cNvPr>
          <p:cNvSpPr txBox="1"/>
          <p:nvPr/>
        </p:nvSpPr>
        <p:spPr>
          <a:xfrm>
            <a:off x="3131291" y="1138075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Count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7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Revenue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$XM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E9F51A4C-ABAC-E156-F7EC-668A211E5220}"/>
              </a:ext>
            </a:extLst>
          </p:cNvPr>
          <p:cNvSpPr txBox="1"/>
          <p:nvPr/>
        </p:nvSpPr>
        <p:spPr>
          <a:xfrm>
            <a:off x="6202280" y="1119116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Count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23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Revenue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$XM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D732E6F9-4C48-F021-31D2-FEB0193DA921}"/>
              </a:ext>
            </a:extLst>
          </p:cNvPr>
          <p:cNvSpPr txBox="1"/>
          <p:nvPr/>
        </p:nvSpPr>
        <p:spPr>
          <a:xfrm>
            <a:off x="9267388" y="1122673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Partner Count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3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Revenue: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$X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8CCBC5-5EDB-334D-24E1-FE9E3122546A}"/>
              </a:ext>
            </a:extLst>
          </p:cNvPr>
          <p:cNvSpPr txBox="1"/>
          <p:nvPr/>
        </p:nvSpPr>
        <p:spPr>
          <a:xfrm>
            <a:off x="45144" y="45312"/>
            <a:ext cx="71886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Lorem Ipsum will reach $XM revenue in 2025 by lorem ipsum lorem:</a:t>
            </a:r>
            <a:endParaRPr kumimoji="0" lang="en-US" sz="14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EE71461-A522-6BF5-DE8F-71CB8F91E99F}"/>
              </a:ext>
            </a:extLst>
          </p:cNvPr>
          <p:cNvSpPr/>
          <p:nvPr/>
        </p:nvSpPr>
        <p:spPr>
          <a:xfrm>
            <a:off x="10535891" y="459980"/>
            <a:ext cx="457200" cy="4572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Aptos" panose="020B0004020202020204" pitchFamily="34" charset="0"/>
                <a:ea typeface="Helvetica for Target Heavy" panose="020B0804020202020204" pitchFamily="34" charset="0"/>
              </a:rPr>
              <a:t>Q4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ED2D426-1359-78D6-1577-AB5375498DB1}"/>
              </a:ext>
            </a:extLst>
          </p:cNvPr>
          <p:cNvSpPr/>
          <p:nvPr/>
        </p:nvSpPr>
        <p:spPr>
          <a:xfrm>
            <a:off x="10818579" y="105887"/>
            <a:ext cx="640080" cy="294640"/>
          </a:xfrm>
          <a:prstGeom prst="roundRect">
            <a:avLst>
              <a:gd name="adj" fmla="val 30032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eam B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DF49032-3E45-A8AB-B2D5-676B116BFD0B}"/>
              </a:ext>
            </a:extLst>
          </p:cNvPr>
          <p:cNvSpPr/>
          <p:nvPr/>
        </p:nvSpPr>
        <p:spPr>
          <a:xfrm>
            <a:off x="10154246" y="104360"/>
            <a:ext cx="640080" cy="294640"/>
          </a:xfrm>
          <a:prstGeom prst="roundRect">
            <a:avLst>
              <a:gd name="adj" fmla="val 30032"/>
            </a:avLst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ptos" panose="020B0004020202020204" pitchFamily="34" charset="0"/>
              </a:rPr>
              <a:t>Team 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7FE5238-324A-428A-5926-BF4BB70FFCBD}"/>
              </a:ext>
            </a:extLst>
          </p:cNvPr>
          <p:cNvSpPr/>
          <p:nvPr/>
        </p:nvSpPr>
        <p:spPr>
          <a:xfrm>
            <a:off x="11482912" y="104360"/>
            <a:ext cx="640080" cy="294640"/>
          </a:xfrm>
          <a:prstGeom prst="roundRect">
            <a:avLst>
              <a:gd name="adj" fmla="val 30032"/>
            </a:avLst>
          </a:prstGeom>
          <a:solidFill>
            <a:srgbClr val="C55A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Aptos" panose="020B0004020202020204" pitchFamily="34" charset="0"/>
              </a:rPr>
              <a:t>Op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CFD2ACE2-A79E-C0F2-C0B2-E3D004782AEC}"/>
              </a:ext>
            </a:extLst>
          </p:cNvPr>
          <p:cNvSpPr/>
          <p:nvPr/>
        </p:nvSpPr>
        <p:spPr>
          <a:xfrm>
            <a:off x="39051" y="1828038"/>
            <a:ext cx="2962656" cy="731520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4F3CF82-6021-9445-C420-4776A4F40027}"/>
              </a:ext>
            </a:extLst>
          </p:cNvPr>
          <p:cNvSpPr txBox="1"/>
          <p:nvPr/>
        </p:nvSpPr>
        <p:spPr>
          <a:xfrm>
            <a:off x="20555" y="1816959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Foundational: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ipsum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dolor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sit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C069D77-65EF-23F1-E5C3-CC1D59F0E78D}"/>
              </a:ext>
            </a:extLst>
          </p:cNvPr>
          <p:cNvSpPr/>
          <p:nvPr/>
        </p:nvSpPr>
        <p:spPr>
          <a:xfrm>
            <a:off x="1930051" y="2210767"/>
            <a:ext cx="1019011" cy="294640"/>
          </a:xfrm>
          <a:prstGeom prst="roundRect">
            <a:avLst>
              <a:gd name="adj" fmla="val 30032"/>
            </a:avLst>
          </a:prstGeom>
          <a:solidFill>
            <a:srgbClr val="3399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iv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C41B59E-9886-1C80-7ADD-EB850DFFE1A8}"/>
              </a:ext>
            </a:extLst>
          </p:cNvPr>
          <p:cNvSpPr/>
          <p:nvPr/>
        </p:nvSpPr>
        <p:spPr>
          <a:xfrm>
            <a:off x="721780" y="2243787"/>
            <a:ext cx="228600" cy="228600"/>
          </a:xfrm>
          <a:prstGeom prst="ellipse">
            <a:avLst/>
          </a:prstGeom>
          <a:solidFill>
            <a:srgbClr val="C55A1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C79C1D8-2A7E-0916-B1A2-9899445E8260}"/>
              </a:ext>
            </a:extLst>
          </p:cNvPr>
          <p:cNvSpPr/>
          <p:nvPr/>
        </p:nvSpPr>
        <p:spPr>
          <a:xfrm>
            <a:off x="131648" y="2243787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9C9629D-BC69-B36B-AB17-88B996689A9F}"/>
              </a:ext>
            </a:extLst>
          </p:cNvPr>
          <p:cNvSpPr/>
          <p:nvPr/>
        </p:nvSpPr>
        <p:spPr>
          <a:xfrm>
            <a:off x="426714" y="2243787"/>
            <a:ext cx="228600" cy="228600"/>
          </a:xfrm>
          <a:prstGeom prst="ellipse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61D3FA0E-A92F-1A75-3B18-407B9BA91996}"/>
              </a:ext>
            </a:extLst>
          </p:cNvPr>
          <p:cNvSpPr/>
          <p:nvPr/>
        </p:nvSpPr>
        <p:spPr>
          <a:xfrm>
            <a:off x="52086" y="2593318"/>
            <a:ext cx="2962656" cy="795528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48B9244-8593-47CA-4AEA-922EF9D9CB56}"/>
              </a:ext>
            </a:extLst>
          </p:cNvPr>
          <p:cNvSpPr txBox="1"/>
          <p:nvPr/>
        </p:nvSpPr>
        <p:spPr>
          <a:xfrm>
            <a:off x="38968" y="2621916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Foundational: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ipsum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dolor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sit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I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IN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5BF718E-263B-CF56-937F-215BD0F1D2DA}"/>
              </a:ext>
            </a:extLst>
          </p:cNvPr>
          <p:cNvSpPr/>
          <p:nvPr/>
        </p:nvSpPr>
        <p:spPr>
          <a:xfrm>
            <a:off x="1930051" y="3030325"/>
            <a:ext cx="1019011" cy="294640"/>
          </a:xfrm>
          <a:prstGeom prst="roundRect">
            <a:avLst>
              <a:gd name="adj" fmla="val 3003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ext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0AFAFB8-73CC-E128-9F58-88DEB44FF8FD}"/>
              </a:ext>
            </a:extLst>
          </p:cNvPr>
          <p:cNvSpPr/>
          <p:nvPr/>
        </p:nvSpPr>
        <p:spPr>
          <a:xfrm>
            <a:off x="721780" y="3063345"/>
            <a:ext cx="228600" cy="228600"/>
          </a:xfrm>
          <a:prstGeom prst="ellipse">
            <a:avLst/>
          </a:prstGeom>
          <a:solidFill>
            <a:srgbClr val="C55A1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82B4BD3-7071-8D9C-C68E-EEBD74853261}"/>
              </a:ext>
            </a:extLst>
          </p:cNvPr>
          <p:cNvSpPr/>
          <p:nvPr/>
        </p:nvSpPr>
        <p:spPr>
          <a:xfrm>
            <a:off x="131648" y="3063345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2C68496-8A2E-E9CB-3238-AD612F62EFD0}"/>
              </a:ext>
            </a:extLst>
          </p:cNvPr>
          <p:cNvSpPr/>
          <p:nvPr/>
        </p:nvSpPr>
        <p:spPr>
          <a:xfrm>
            <a:off x="426714" y="3063345"/>
            <a:ext cx="228600" cy="228600"/>
          </a:xfrm>
          <a:prstGeom prst="ellipse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9A98E3B-8C7E-49BC-018E-10CDF303BD51}"/>
              </a:ext>
            </a:extLst>
          </p:cNvPr>
          <p:cNvSpPr/>
          <p:nvPr/>
        </p:nvSpPr>
        <p:spPr>
          <a:xfrm>
            <a:off x="62364" y="4244137"/>
            <a:ext cx="2962656" cy="731520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CCB30BC-8F43-481C-ED9C-F172128C4ADA}"/>
              </a:ext>
            </a:extLst>
          </p:cNvPr>
          <p:cNvSpPr txBox="1"/>
          <p:nvPr/>
        </p:nvSpPr>
        <p:spPr>
          <a:xfrm>
            <a:off x="62365" y="4241247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Foundational: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Lorem ipsum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dolor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sit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585E843B-4016-6AD6-E616-E1E4BE71E4E9}"/>
              </a:ext>
            </a:extLst>
          </p:cNvPr>
          <p:cNvSpPr/>
          <p:nvPr/>
        </p:nvSpPr>
        <p:spPr>
          <a:xfrm>
            <a:off x="1930051" y="4664099"/>
            <a:ext cx="1019011" cy="294640"/>
          </a:xfrm>
          <a:prstGeom prst="roundRect">
            <a:avLst>
              <a:gd name="adj" fmla="val 3003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ext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7DFA6C5-5DBE-9FA2-F9BD-868193C83F7C}"/>
              </a:ext>
            </a:extLst>
          </p:cNvPr>
          <p:cNvSpPr/>
          <p:nvPr/>
        </p:nvSpPr>
        <p:spPr>
          <a:xfrm>
            <a:off x="721780" y="4697119"/>
            <a:ext cx="228600" cy="228600"/>
          </a:xfrm>
          <a:prstGeom prst="ellipse">
            <a:avLst/>
          </a:prstGeom>
          <a:solidFill>
            <a:srgbClr val="C55A1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399F656-C94A-9F19-B164-F8425EDDEDD3}"/>
              </a:ext>
            </a:extLst>
          </p:cNvPr>
          <p:cNvSpPr/>
          <p:nvPr/>
        </p:nvSpPr>
        <p:spPr>
          <a:xfrm>
            <a:off x="131648" y="4697119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4C906AF-84E4-9F5D-863F-684B15443AFD}"/>
              </a:ext>
            </a:extLst>
          </p:cNvPr>
          <p:cNvSpPr/>
          <p:nvPr/>
        </p:nvSpPr>
        <p:spPr>
          <a:xfrm>
            <a:off x="426714" y="4697119"/>
            <a:ext cx="228600" cy="228600"/>
          </a:xfrm>
          <a:prstGeom prst="ellipse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5108245-C70E-17D6-417F-EE9E59D26720}"/>
              </a:ext>
            </a:extLst>
          </p:cNvPr>
          <p:cNvGrpSpPr/>
          <p:nvPr/>
        </p:nvGrpSpPr>
        <p:grpSpPr>
          <a:xfrm>
            <a:off x="3059450" y="2627008"/>
            <a:ext cx="2962656" cy="640080"/>
            <a:chOff x="3059450" y="2627008"/>
            <a:chExt cx="2962656" cy="640080"/>
          </a:xfrm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80C75AF8-D347-E424-31E6-CA32293ED0B6}"/>
                </a:ext>
              </a:extLst>
            </p:cNvPr>
            <p:cNvSpPr/>
            <p:nvPr/>
          </p:nvSpPr>
          <p:spPr>
            <a:xfrm>
              <a:off x="3059450" y="2627008"/>
              <a:ext cx="2962656" cy="640080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A1EBE3D-DADA-2A84-69F4-515F20BAA3BA}"/>
                </a:ext>
              </a:extLst>
            </p:cNvPr>
            <p:cNvSpPr txBox="1"/>
            <p:nvPr/>
          </p:nvSpPr>
          <p:spPr>
            <a:xfrm>
              <a:off x="3076059" y="2672504"/>
              <a:ext cx="28189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238D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Marketing: </a:t>
              </a:r>
              <a:r>
                <a:rPr lang="en-IN" sz="1200" dirty="0">
                  <a:solidFill>
                    <a:srgbClr val="000000"/>
                  </a:solidFill>
                  <a:latin typeface="Aptos"/>
                  <a:ea typeface="Helvetica for Target" panose="020B0504020202020204" pitchFamily="34" charset="77"/>
                </a:rPr>
                <a:t>Lorem ipsum </a:t>
              </a:r>
              <a:r>
                <a:rPr lang="en-IN" sz="1200" dirty="0" err="1">
                  <a:solidFill>
                    <a:srgbClr val="000000"/>
                  </a:solidFill>
                  <a:latin typeface="Aptos"/>
                  <a:ea typeface="Helvetica for Target" panose="020B0504020202020204" pitchFamily="34" charset="77"/>
                </a:rPr>
                <a:t>dolor</a:t>
              </a:r>
              <a:r>
                <a:rPr lang="en-IN" sz="1200" dirty="0">
                  <a:solidFill>
                    <a:srgbClr val="000000"/>
                  </a:solidFill>
                  <a:latin typeface="Aptos"/>
                  <a:ea typeface="Helvetica for Target" panose="020B0504020202020204" pitchFamily="34" charset="77"/>
                </a:rPr>
                <a:t> sit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448CB85F-6F45-CAD3-4463-63B7B1928F18}"/>
                </a:ext>
              </a:extLst>
            </p:cNvPr>
            <p:cNvSpPr/>
            <p:nvPr/>
          </p:nvSpPr>
          <p:spPr>
            <a:xfrm>
              <a:off x="4973753" y="2926021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Align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220E1A00-284C-5737-74C2-3F4BD0F880FB}"/>
                </a:ext>
              </a:extLst>
            </p:cNvPr>
            <p:cNvSpPr/>
            <p:nvPr/>
          </p:nvSpPr>
          <p:spPr>
            <a:xfrm>
              <a:off x="3132576" y="2959041"/>
              <a:ext cx="228600" cy="228600"/>
            </a:xfrm>
            <a:prstGeom prst="ellipse">
              <a:avLst/>
            </a:prstGeom>
            <a:solidFill>
              <a:srgbClr val="C55A1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5F579A5-E2D7-02D4-D55A-617E4ED4AF00}"/>
                </a:ext>
              </a:extLst>
            </p:cNvPr>
            <p:cNvSpPr/>
            <p:nvPr/>
          </p:nvSpPr>
          <p:spPr>
            <a:xfrm>
              <a:off x="3406345" y="2959041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FAD8443-0666-DD3F-F36C-C4981429F7ED}"/>
              </a:ext>
            </a:extLst>
          </p:cNvPr>
          <p:cNvGrpSpPr/>
          <p:nvPr/>
        </p:nvGrpSpPr>
        <p:grpSpPr>
          <a:xfrm>
            <a:off x="3075487" y="1813565"/>
            <a:ext cx="2973515" cy="786384"/>
            <a:chOff x="3075487" y="1813565"/>
            <a:chExt cx="2973515" cy="786384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84714A56-0335-4ECE-9C8C-8EF0B5A82C3D}"/>
                </a:ext>
              </a:extLst>
            </p:cNvPr>
            <p:cNvSpPr/>
            <p:nvPr/>
          </p:nvSpPr>
          <p:spPr>
            <a:xfrm>
              <a:off x="3086346" y="1813565"/>
              <a:ext cx="2962656" cy="786384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CA8FFDA-E456-76D1-7C45-020344F30C9F}"/>
                </a:ext>
              </a:extLst>
            </p:cNvPr>
            <p:cNvSpPr txBox="1"/>
            <p:nvPr/>
          </p:nvSpPr>
          <p:spPr>
            <a:xfrm>
              <a:off x="3075487" y="1816959"/>
              <a:ext cx="2818974" cy="4616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6699FF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Ipsum: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Lorem ipsum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dolor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sit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met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,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consectetur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dipiscing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.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5EC475D4-B15B-E648-F050-EED057CD8043}"/>
                </a:ext>
              </a:extLst>
            </p:cNvPr>
            <p:cNvSpPr/>
            <p:nvPr/>
          </p:nvSpPr>
          <p:spPr>
            <a:xfrm>
              <a:off x="4973753" y="2261184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Discovery</a:t>
              </a: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8B52C62-F5D9-2687-B646-DAC878647F61}"/>
                </a:ext>
              </a:extLst>
            </p:cNvPr>
            <p:cNvSpPr/>
            <p:nvPr/>
          </p:nvSpPr>
          <p:spPr>
            <a:xfrm>
              <a:off x="3132576" y="2294204"/>
              <a:ext cx="228600" cy="228600"/>
            </a:xfrm>
            <a:prstGeom prst="ellipse">
              <a:avLst/>
            </a:prstGeom>
            <a:solidFill>
              <a:srgbClr val="C55A1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E9E09E9C-04A1-5668-D225-9E10902F03C9}"/>
                </a:ext>
              </a:extLst>
            </p:cNvPr>
            <p:cNvSpPr/>
            <p:nvPr/>
          </p:nvSpPr>
          <p:spPr>
            <a:xfrm>
              <a:off x="3406345" y="2294204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61AC05C-851A-B306-3F67-D730863405AD}"/>
              </a:ext>
            </a:extLst>
          </p:cNvPr>
          <p:cNvGrpSpPr/>
          <p:nvPr/>
        </p:nvGrpSpPr>
        <p:grpSpPr>
          <a:xfrm>
            <a:off x="3083718" y="3310711"/>
            <a:ext cx="2962656" cy="916598"/>
            <a:chOff x="3083718" y="3310711"/>
            <a:chExt cx="2962656" cy="916598"/>
          </a:xfrm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A60836D1-319F-9EAA-036F-5837CE1A4B69}"/>
                </a:ext>
              </a:extLst>
            </p:cNvPr>
            <p:cNvSpPr/>
            <p:nvPr/>
          </p:nvSpPr>
          <p:spPr>
            <a:xfrm>
              <a:off x="3083718" y="3312909"/>
              <a:ext cx="2962656" cy="914400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8988AE1-FBBF-FF07-4F41-6260FD0269BD}"/>
                </a:ext>
              </a:extLst>
            </p:cNvPr>
            <p:cNvSpPr txBox="1"/>
            <p:nvPr/>
          </p:nvSpPr>
          <p:spPr>
            <a:xfrm>
              <a:off x="3086486" y="3310711"/>
              <a:ext cx="2818974" cy="64633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6699FF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Access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Lorem ipsum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dolor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 sit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amet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,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consectetur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adipiscing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elit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. Integer </a:t>
              </a:r>
              <a:r>
                <a:rPr kumimoji="0" lang="en-I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ultricies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ea typeface="Helvetica for Target" panose="020B0504020202020204" pitchFamily="34" charset="77"/>
                  <a:cs typeface="+mn-cs"/>
                </a:rPr>
                <a:t>.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/>
                <a:ea typeface="Helvetica for Target" panose="020B0504020202020204" pitchFamily="34" charset="77"/>
                <a:cs typeface="+mn-cs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26E2E57F-8F1D-FF62-2763-3C5B46503E5C}"/>
                </a:ext>
              </a:extLst>
            </p:cNvPr>
            <p:cNvSpPr/>
            <p:nvPr/>
          </p:nvSpPr>
          <p:spPr>
            <a:xfrm>
              <a:off x="4973753" y="3887535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Align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D83CBEFA-2C82-3650-A2EE-02FAE7C5C2EB}"/>
                </a:ext>
              </a:extLst>
            </p:cNvPr>
            <p:cNvSpPr/>
            <p:nvPr/>
          </p:nvSpPr>
          <p:spPr>
            <a:xfrm>
              <a:off x="3132576" y="3920555"/>
              <a:ext cx="228600" cy="228600"/>
            </a:xfrm>
            <a:prstGeom prst="ellipse">
              <a:avLst/>
            </a:prstGeom>
            <a:solidFill>
              <a:srgbClr val="C55A1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B23C2DC2-ED5E-5AEA-3583-1A18FE1F7E47}"/>
                </a:ext>
              </a:extLst>
            </p:cNvPr>
            <p:cNvSpPr/>
            <p:nvPr/>
          </p:nvSpPr>
          <p:spPr>
            <a:xfrm>
              <a:off x="3406345" y="3920555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7B79848-CA2F-FB19-8642-C00CDB262B93}"/>
              </a:ext>
            </a:extLst>
          </p:cNvPr>
          <p:cNvGrpSpPr/>
          <p:nvPr/>
        </p:nvGrpSpPr>
        <p:grpSpPr>
          <a:xfrm>
            <a:off x="9168854" y="5058223"/>
            <a:ext cx="2962656" cy="742595"/>
            <a:chOff x="7336349" y="5297705"/>
            <a:chExt cx="2962656" cy="742595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8548376C-1BEF-645B-A3DF-34C7E014B7C7}"/>
                </a:ext>
              </a:extLst>
            </p:cNvPr>
            <p:cNvSpPr/>
            <p:nvPr/>
          </p:nvSpPr>
          <p:spPr>
            <a:xfrm>
              <a:off x="7336349" y="5308782"/>
              <a:ext cx="2962656" cy="731518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2231F04-DDF5-6B40-7354-81D9BD619CC6}"/>
                </a:ext>
              </a:extLst>
            </p:cNvPr>
            <p:cNvSpPr txBox="1"/>
            <p:nvPr/>
          </p:nvSpPr>
          <p:spPr>
            <a:xfrm>
              <a:off x="7337858" y="5297705"/>
              <a:ext cx="281897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EA6A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Pricing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Lorem ipsum dolor sit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6300FDF-FA29-3741-406F-EDDD93DC3254}"/>
                </a:ext>
              </a:extLst>
            </p:cNvPr>
            <p:cNvSpPr/>
            <p:nvPr/>
          </p:nvSpPr>
          <p:spPr>
            <a:xfrm>
              <a:off x="7434883" y="5729288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CD8F5BD4-033C-62A7-B2DB-75E06E59193A}"/>
                </a:ext>
              </a:extLst>
            </p:cNvPr>
            <p:cNvSpPr/>
            <p:nvPr/>
          </p:nvSpPr>
          <p:spPr>
            <a:xfrm>
              <a:off x="7736827" y="5729288"/>
              <a:ext cx="228600" cy="228600"/>
            </a:xfrm>
            <a:prstGeom prst="ellipse">
              <a:avLst/>
            </a:prstGeom>
            <a:solidFill>
              <a:srgbClr val="002060"/>
            </a:solidFill>
            <a:ln w="9525" cap="rnd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73604A67-0377-55FB-9237-A9B79BA9C3C5}"/>
              </a:ext>
            </a:extLst>
          </p:cNvPr>
          <p:cNvSpPr/>
          <p:nvPr/>
        </p:nvSpPr>
        <p:spPr>
          <a:xfrm>
            <a:off x="9178515" y="3638507"/>
            <a:ext cx="2962656" cy="731520"/>
          </a:xfrm>
          <a:prstGeom prst="roundRect">
            <a:avLst>
              <a:gd name="adj" fmla="val 1387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eyond 2025/Parking Lot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2C94D74-8888-52CD-DE23-0390D28AAD5E}"/>
              </a:ext>
            </a:extLst>
          </p:cNvPr>
          <p:cNvSpPr/>
          <p:nvPr/>
        </p:nvSpPr>
        <p:spPr>
          <a:xfrm>
            <a:off x="9192274" y="3655951"/>
            <a:ext cx="457200" cy="457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ptos" panose="020B0004020202020204" pitchFamily="34" charset="0"/>
                <a:ea typeface="Helvetica for Target Heavy" panose="020B0804020202020204" pitchFamily="34" charset="0"/>
              </a:rPr>
              <a:t>++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7A3BBA1-4037-3FAD-B88D-6002976FCFDA}"/>
              </a:ext>
            </a:extLst>
          </p:cNvPr>
          <p:cNvGrpSpPr/>
          <p:nvPr/>
        </p:nvGrpSpPr>
        <p:grpSpPr>
          <a:xfrm>
            <a:off x="9168854" y="4438755"/>
            <a:ext cx="2962656" cy="595410"/>
            <a:chOff x="6130156" y="3823684"/>
            <a:chExt cx="2962656" cy="595410"/>
          </a:xfrm>
        </p:grpSpPr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03080394-FFB0-2447-0A5F-6621C372D7F8}"/>
                </a:ext>
              </a:extLst>
            </p:cNvPr>
            <p:cNvSpPr/>
            <p:nvPr/>
          </p:nvSpPr>
          <p:spPr>
            <a:xfrm>
              <a:off x="6130156" y="3823684"/>
              <a:ext cx="2962656" cy="595410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E09871F-6B46-F944-D980-B81E259AC12B}"/>
                </a:ext>
              </a:extLst>
            </p:cNvPr>
            <p:cNvSpPr txBox="1"/>
            <p:nvPr/>
          </p:nvSpPr>
          <p:spPr>
            <a:xfrm>
              <a:off x="6134862" y="3850659"/>
              <a:ext cx="28189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6699FF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Ipsum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lang="en-IN" sz="1200" dirty="0">
                  <a:solidFill>
                    <a:srgbClr val="000000"/>
                  </a:solidFill>
                  <a:latin typeface="Aptos" panose="020B0004020202020204" pitchFamily="34" charset="0"/>
                  <a:ea typeface="Helvetica for Target" panose="020B0504020202020204" pitchFamily="34" charset="77"/>
                </a:rPr>
                <a:t>Lorem ipsum </a:t>
              </a:r>
              <a:r>
                <a:rPr lang="en-IN" sz="1200" dirty="0" err="1">
                  <a:solidFill>
                    <a:srgbClr val="000000"/>
                  </a:solidFill>
                  <a:latin typeface="Aptos" panose="020B0004020202020204" pitchFamily="34" charset="0"/>
                  <a:ea typeface="Helvetica for Target" panose="020B0504020202020204" pitchFamily="34" charset="77"/>
                </a:rPr>
                <a:t>dolor</a:t>
              </a:r>
              <a:r>
                <a:rPr lang="en-IN" sz="1200" dirty="0">
                  <a:solidFill>
                    <a:srgbClr val="000000"/>
                  </a:solidFill>
                  <a:latin typeface="Aptos" panose="020B0004020202020204" pitchFamily="34" charset="0"/>
                  <a:ea typeface="Helvetica for Target" panose="020B0504020202020204" pitchFamily="34" charset="77"/>
                </a:rPr>
                <a:t> sit.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625ECA78-78DD-4E5E-48A8-8BC932091C55}"/>
                </a:ext>
              </a:extLst>
            </p:cNvPr>
            <p:cNvSpPr/>
            <p:nvPr/>
          </p:nvSpPr>
          <p:spPr>
            <a:xfrm>
              <a:off x="6228690" y="4131986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BCBCCFAD-FCE2-E53F-5B6B-1D3B7447D509}"/>
                </a:ext>
              </a:extLst>
            </p:cNvPr>
            <p:cNvSpPr/>
            <p:nvPr/>
          </p:nvSpPr>
          <p:spPr>
            <a:xfrm>
              <a:off x="6519595" y="4127805"/>
              <a:ext cx="228600" cy="228600"/>
            </a:xfrm>
            <a:prstGeom prst="ellipse">
              <a:avLst/>
            </a:prstGeom>
            <a:solidFill>
              <a:srgbClr val="002060"/>
            </a:solidFill>
            <a:ln w="9525" cap="rnd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ACEC66C7-6A5A-0D4D-07E6-702730B9C8B7}"/>
              </a:ext>
            </a:extLst>
          </p:cNvPr>
          <p:cNvSpPr/>
          <p:nvPr/>
        </p:nvSpPr>
        <p:spPr>
          <a:xfrm>
            <a:off x="46221" y="3424449"/>
            <a:ext cx="2962656" cy="786384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DD8145-A97A-26E3-97BA-1DD189415688}"/>
              </a:ext>
            </a:extLst>
          </p:cNvPr>
          <p:cNvSpPr txBox="1"/>
          <p:nvPr/>
        </p:nvSpPr>
        <p:spPr>
          <a:xfrm>
            <a:off x="38562" y="3453048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Foundational: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ipsum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dolor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sit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2919E01-1613-B2CF-4CE1-835F0BB67588}"/>
              </a:ext>
            </a:extLst>
          </p:cNvPr>
          <p:cNvSpPr/>
          <p:nvPr/>
        </p:nvSpPr>
        <p:spPr>
          <a:xfrm>
            <a:off x="1930051" y="3863365"/>
            <a:ext cx="1019011" cy="294640"/>
          </a:xfrm>
          <a:prstGeom prst="roundRect">
            <a:avLst>
              <a:gd name="adj" fmla="val 30032"/>
            </a:avLst>
          </a:prstGeom>
          <a:solidFill>
            <a:srgbClr val="3399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evelopmen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3E5D9A83-EFBF-AA3A-17D9-AF7E4ED9AE57}"/>
              </a:ext>
            </a:extLst>
          </p:cNvPr>
          <p:cNvSpPr/>
          <p:nvPr/>
        </p:nvSpPr>
        <p:spPr>
          <a:xfrm>
            <a:off x="131648" y="3896385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C8A4038-AB4A-5F1E-0631-C6FDA33FCA2E}"/>
              </a:ext>
            </a:extLst>
          </p:cNvPr>
          <p:cNvSpPr/>
          <p:nvPr/>
        </p:nvSpPr>
        <p:spPr>
          <a:xfrm>
            <a:off x="426714" y="3896385"/>
            <a:ext cx="228600" cy="228600"/>
          </a:xfrm>
          <a:prstGeom prst="ellipse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CEEE2973-039A-12B9-AD21-55640FA9B669}"/>
              </a:ext>
            </a:extLst>
          </p:cNvPr>
          <p:cNvSpPr/>
          <p:nvPr/>
        </p:nvSpPr>
        <p:spPr>
          <a:xfrm>
            <a:off x="721780" y="3896385"/>
            <a:ext cx="228600" cy="228600"/>
          </a:xfrm>
          <a:prstGeom prst="ellipse">
            <a:avLst/>
          </a:prstGeom>
          <a:solidFill>
            <a:srgbClr val="C55A1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E4F939E9-4546-071C-02F3-24400647336B}"/>
              </a:ext>
            </a:extLst>
          </p:cNvPr>
          <p:cNvGrpSpPr/>
          <p:nvPr/>
        </p:nvGrpSpPr>
        <p:grpSpPr>
          <a:xfrm>
            <a:off x="3083718" y="4254971"/>
            <a:ext cx="2962656" cy="796573"/>
            <a:chOff x="3083718" y="4254971"/>
            <a:chExt cx="2962656" cy="796573"/>
          </a:xfrm>
        </p:grpSpPr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F87E3538-0C55-1F3F-C109-CD21EF88ABA1}"/>
                </a:ext>
              </a:extLst>
            </p:cNvPr>
            <p:cNvSpPr/>
            <p:nvPr/>
          </p:nvSpPr>
          <p:spPr>
            <a:xfrm>
              <a:off x="3083718" y="4265160"/>
              <a:ext cx="2962656" cy="786384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F1614E6-A064-D2A4-B0FE-417420A1CA21}"/>
                </a:ext>
              </a:extLst>
            </p:cNvPr>
            <p:cNvSpPr txBox="1"/>
            <p:nvPr/>
          </p:nvSpPr>
          <p:spPr>
            <a:xfrm>
              <a:off x="3085227" y="4254971"/>
              <a:ext cx="281897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EA6A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Pricing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Lorem ipsum dolor sit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dipiscing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eli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. </a:t>
              </a: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0F9AE56-1F66-2138-39FC-82DBEDC716AE}"/>
                </a:ext>
              </a:extLst>
            </p:cNvPr>
            <p:cNvSpPr/>
            <p:nvPr/>
          </p:nvSpPr>
          <p:spPr>
            <a:xfrm>
              <a:off x="3132576" y="4726642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EA22C9FA-5631-C0B3-49AD-781DDD48F35D}"/>
                </a:ext>
              </a:extLst>
            </p:cNvPr>
            <p:cNvSpPr/>
            <p:nvPr/>
          </p:nvSpPr>
          <p:spPr>
            <a:xfrm>
              <a:off x="4973753" y="4693622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Tentative Dev</a:t>
              </a:r>
            </a:p>
          </p:txBody>
        </p:sp>
      </p:grp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9DC52E4F-762F-1796-DC10-2C6623987C5E}"/>
              </a:ext>
            </a:extLst>
          </p:cNvPr>
          <p:cNvSpPr/>
          <p:nvPr/>
        </p:nvSpPr>
        <p:spPr>
          <a:xfrm>
            <a:off x="39448" y="5782131"/>
            <a:ext cx="2962656" cy="768097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BE48D2FB-ECCA-7E18-DBC5-6C15BB398FF3}"/>
              </a:ext>
            </a:extLst>
          </p:cNvPr>
          <p:cNvSpPr txBox="1"/>
          <p:nvPr/>
        </p:nvSpPr>
        <p:spPr>
          <a:xfrm>
            <a:off x="40957" y="5771942"/>
            <a:ext cx="2818974" cy="461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EA6A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Pricing: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5C6DB1B3-FC18-4C55-516C-830AA9D1CCAA}"/>
              </a:ext>
            </a:extLst>
          </p:cNvPr>
          <p:cNvSpPr/>
          <p:nvPr/>
        </p:nvSpPr>
        <p:spPr>
          <a:xfrm>
            <a:off x="131648" y="6250753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3CC884CF-39CA-F3E2-8B79-05DCE07E87BF}"/>
              </a:ext>
            </a:extLst>
          </p:cNvPr>
          <p:cNvSpPr/>
          <p:nvPr/>
        </p:nvSpPr>
        <p:spPr>
          <a:xfrm>
            <a:off x="1930051" y="6184713"/>
            <a:ext cx="1019011" cy="294640"/>
          </a:xfrm>
          <a:prstGeom prst="roundRect">
            <a:avLst>
              <a:gd name="adj" fmla="val 30032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iscove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DFEEB5-F5FC-7DA0-672F-39937E0BB408}"/>
              </a:ext>
            </a:extLst>
          </p:cNvPr>
          <p:cNvSpPr txBox="1"/>
          <p:nvPr/>
        </p:nvSpPr>
        <p:spPr>
          <a:xfrm>
            <a:off x="105009" y="431236"/>
            <a:ext cx="11189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2025 Roadmap</a:t>
            </a:r>
            <a:endParaRPr kumimoji="0" lang="en-US" sz="140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E197E31-4B62-7EA4-F138-9A18DC9863CB}"/>
              </a:ext>
            </a:extLst>
          </p:cNvPr>
          <p:cNvSpPr/>
          <p:nvPr/>
        </p:nvSpPr>
        <p:spPr>
          <a:xfrm>
            <a:off x="6897781" y="69438"/>
            <a:ext cx="1527256" cy="344671"/>
          </a:xfrm>
          <a:prstGeom prst="roundRect">
            <a:avLst>
              <a:gd name="adj" fmla="val 30032"/>
            </a:avLst>
          </a:prstGeom>
          <a:solidFill>
            <a:schemeClr val="bg1"/>
          </a:solidFill>
          <a:ln w="38100">
            <a:solidFill>
              <a:srgbClr val="37373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ptos" panose="020B0004020202020204" pitchFamily="34" charset="0"/>
              </a:rPr>
              <a:t>Opening </a:t>
            </a:r>
            <a:r>
              <a:rPr lang="en-US" sz="1000" b="1" dirty="0">
                <a:solidFill>
                  <a:srgbClr val="6699FF"/>
                </a:solidFill>
                <a:latin typeface="Aptos" panose="020B0004020202020204" pitchFamily="34" charset="0"/>
              </a:rPr>
              <a:t>Ipsum </a:t>
            </a:r>
            <a:r>
              <a:rPr lang="en-US" sz="1000" b="1" dirty="0">
                <a:solidFill>
                  <a:schemeClr val="tx1"/>
                </a:solidFill>
                <a:latin typeface="Aptos" panose="020B0004020202020204" pitchFamily="34" charset="0"/>
              </a:rPr>
              <a:t>to more Lorem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2CE8494-47FC-6F09-0BE5-0EE073B3EF67}"/>
              </a:ext>
            </a:extLst>
          </p:cNvPr>
          <p:cNvSpPr/>
          <p:nvPr/>
        </p:nvSpPr>
        <p:spPr>
          <a:xfrm>
            <a:off x="8503760" y="70458"/>
            <a:ext cx="1527256" cy="344671"/>
          </a:xfrm>
          <a:prstGeom prst="roundRect">
            <a:avLst>
              <a:gd name="adj" fmla="val 30032"/>
            </a:avLst>
          </a:prstGeom>
          <a:solidFill>
            <a:schemeClr val="bg1"/>
          </a:solidFill>
          <a:ln w="38100">
            <a:solidFill>
              <a:srgbClr val="37373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ptos" panose="020B0004020202020204" pitchFamily="34" charset="0"/>
              </a:rPr>
              <a:t>Making </a:t>
            </a:r>
            <a:r>
              <a:rPr lang="en-US" sz="1000" b="1" dirty="0">
                <a:solidFill>
                  <a:srgbClr val="00EA6A"/>
                </a:solidFill>
                <a:latin typeface="Aptos" panose="020B0004020202020204" pitchFamily="34" charset="0"/>
              </a:rPr>
              <a:t>pricing </a:t>
            </a:r>
            <a:r>
              <a:rPr lang="en-US" sz="1000" b="1" dirty="0">
                <a:solidFill>
                  <a:schemeClr val="tx1"/>
                </a:solidFill>
                <a:latin typeface="Aptos" panose="020B0004020202020204" pitchFamily="34" charset="0"/>
              </a:rPr>
              <a:t>more competitiv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C9FCB80-F54B-3467-8B40-890BED0D6567}"/>
              </a:ext>
            </a:extLst>
          </p:cNvPr>
          <p:cNvSpPr/>
          <p:nvPr/>
        </p:nvSpPr>
        <p:spPr>
          <a:xfrm>
            <a:off x="5286579" y="69438"/>
            <a:ext cx="1527256" cy="344671"/>
          </a:xfrm>
          <a:prstGeom prst="roundRect">
            <a:avLst>
              <a:gd name="adj" fmla="val 30032"/>
            </a:avLst>
          </a:prstGeom>
          <a:solidFill>
            <a:schemeClr val="bg1"/>
          </a:solidFill>
          <a:ln w="38100">
            <a:solidFill>
              <a:srgbClr val="37373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0238D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Marketing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Ipsum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2226B91F-F586-9A3E-26C7-57FF47FECC34}"/>
              </a:ext>
            </a:extLst>
          </p:cNvPr>
          <p:cNvSpPr/>
          <p:nvPr/>
        </p:nvSpPr>
        <p:spPr>
          <a:xfrm>
            <a:off x="65494" y="5012588"/>
            <a:ext cx="2962656" cy="731519"/>
          </a:xfrm>
          <a:prstGeom prst="roundRect">
            <a:avLst>
              <a:gd name="adj" fmla="val 887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041D0B3-E073-C21E-A225-15112F46E237}"/>
              </a:ext>
            </a:extLst>
          </p:cNvPr>
          <p:cNvSpPr txBox="1"/>
          <p:nvPr/>
        </p:nvSpPr>
        <p:spPr>
          <a:xfrm>
            <a:off x="20350" y="5049240"/>
            <a:ext cx="28189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Foundational: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Lorem ipsum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dolor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 sit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amet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, </a:t>
            </a:r>
            <a:r>
              <a:rPr kumimoji="0" lang="en-I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ptos" panose="020B0004020202020204" pitchFamily="34" charset="0"/>
                <a:ea typeface="Helvetica for Target" panose="020B0504020202020204" pitchFamily="34" charset="77"/>
                <a:cs typeface="+mn-cs"/>
              </a:rPr>
              <a:t>consectetu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ptos" panose="020B0004020202020204" pitchFamily="34" charset="0"/>
              <a:ea typeface="Helvetica for Target" panose="020B0504020202020204" pitchFamily="34" charset="77"/>
              <a:cs typeface="+mn-cs"/>
            </a:endParaRP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392B8557-5F12-5CAC-29C6-D1BFAAA1D84C}"/>
              </a:ext>
            </a:extLst>
          </p:cNvPr>
          <p:cNvSpPr/>
          <p:nvPr/>
        </p:nvSpPr>
        <p:spPr>
          <a:xfrm>
            <a:off x="1930051" y="5423766"/>
            <a:ext cx="1019011" cy="294640"/>
          </a:xfrm>
          <a:prstGeom prst="roundRect">
            <a:avLst>
              <a:gd name="adj" fmla="val 3003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ext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7B982CA-8846-A468-7349-34BD887E415D}"/>
              </a:ext>
            </a:extLst>
          </p:cNvPr>
          <p:cNvSpPr/>
          <p:nvPr/>
        </p:nvSpPr>
        <p:spPr>
          <a:xfrm>
            <a:off x="131648" y="5456786"/>
            <a:ext cx="228600" cy="228600"/>
          </a:xfrm>
          <a:prstGeom prst="ellipse">
            <a:avLst/>
          </a:prstGeom>
          <a:solidFill>
            <a:srgbClr val="993366"/>
          </a:solidFill>
          <a:ln w="9525" cap="rnd" cmpd="sng" algn="ctr">
            <a:solidFill>
              <a:srgbClr val="99336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6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F7B7B62-FEAC-DA59-E65A-60FA50F5D634}"/>
              </a:ext>
            </a:extLst>
          </p:cNvPr>
          <p:cNvGrpSpPr/>
          <p:nvPr/>
        </p:nvGrpSpPr>
        <p:grpSpPr>
          <a:xfrm>
            <a:off x="7974645" y="2683608"/>
            <a:ext cx="2962656" cy="795528"/>
            <a:chOff x="6813835" y="2528257"/>
            <a:chExt cx="2962656" cy="795528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06D56C1C-F1A8-DA8F-2255-CB3C2252A2A9}"/>
                </a:ext>
              </a:extLst>
            </p:cNvPr>
            <p:cNvSpPr/>
            <p:nvPr/>
          </p:nvSpPr>
          <p:spPr>
            <a:xfrm>
              <a:off x="6813835" y="2528257"/>
              <a:ext cx="2962656" cy="795528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BBD5E69-721C-C7A9-C38E-82593E55FCD2}"/>
                </a:ext>
              </a:extLst>
            </p:cNvPr>
            <p:cNvSpPr txBox="1"/>
            <p:nvPr/>
          </p:nvSpPr>
          <p:spPr>
            <a:xfrm>
              <a:off x="6818541" y="2555232"/>
              <a:ext cx="281897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238D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Marketing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Partner facing dynamic rate calculator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5D013A2-8BA3-4D2B-7351-47B63554AFBE}"/>
                </a:ext>
              </a:extLst>
            </p:cNvPr>
            <p:cNvSpPr/>
            <p:nvPr/>
          </p:nvSpPr>
          <p:spPr>
            <a:xfrm>
              <a:off x="6939215" y="2983527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0C159D2-5107-C24D-EA5E-C27747DC461D}"/>
                </a:ext>
              </a:extLst>
            </p:cNvPr>
            <p:cNvSpPr/>
            <p:nvPr/>
          </p:nvSpPr>
          <p:spPr>
            <a:xfrm>
              <a:off x="7230120" y="2983527"/>
              <a:ext cx="228600" cy="228600"/>
            </a:xfrm>
            <a:prstGeom prst="ellipse">
              <a:avLst/>
            </a:prstGeom>
            <a:solidFill>
              <a:srgbClr val="002060"/>
            </a:solidFill>
            <a:ln w="9525" cap="rnd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0AE6D5F7-B76A-BCA0-CC5B-47813024D971}"/>
                </a:ext>
              </a:extLst>
            </p:cNvPr>
            <p:cNvSpPr/>
            <p:nvPr/>
          </p:nvSpPr>
          <p:spPr>
            <a:xfrm>
              <a:off x="8700435" y="2950507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Align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FCD2C82-B413-FDE6-F267-67837EBC5ADC}"/>
              </a:ext>
            </a:extLst>
          </p:cNvPr>
          <p:cNvGrpSpPr/>
          <p:nvPr/>
        </p:nvGrpSpPr>
        <p:grpSpPr>
          <a:xfrm>
            <a:off x="7936853" y="1846023"/>
            <a:ext cx="2968042" cy="795528"/>
            <a:chOff x="6813835" y="1620710"/>
            <a:chExt cx="2968042" cy="795528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D33645BB-31B2-D0A5-BF98-375A9E73A83A}"/>
                </a:ext>
              </a:extLst>
            </p:cNvPr>
            <p:cNvSpPr/>
            <p:nvPr/>
          </p:nvSpPr>
          <p:spPr>
            <a:xfrm>
              <a:off x="6819221" y="1620710"/>
              <a:ext cx="2962656" cy="795528"/>
            </a:xfrm>
            <a:prstGeom prst="roundRect">
              <a:avLst>
                <a:gd name="adj" fmla="val 8878"/>
              </a:avLst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E492457-4B4B-EAEA-9DD0-8D74C31724C7}"/>
                </a:ext>
              </a:extLst>
            </p:cNvPr>
            <p:cNvSpPr txBox="1"/>
            <p:nvPr/>
          </p:nvSpPr>
          <p:spPr>
            <a:xfrm>
              <a:off x="6813835" y="1649309"/>
              <a:ext cx="281897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6699FF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Ipsum: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ptos" panose="020B0004020202020204" pitchFamily="34" charset="0"/>
                  <a:ea typeface="Helvetica for Target" panose="020B0504020202020204" pitchFamily="34" charset="77"/>
                  <a:cs typeface="+mn-cs"/>
                </a:rPr>
                <a:t>Add functionality to reprint or cancel labels</a:t>
              </a: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547EBC6F-AC62-9610-334D-3F9577958B79}"/>
                </a:ext>
              </a:extLst>
            </p:cNvPr>
            <p:cNvSpPr/>
            <p:nvPr/>
          </p:nvSpPr>
          <p:spPr>
            <a:xfrm>
              <a:off x="6939215" y="2090301"/>
              <a:ext cx="228600" cy="228600"/>
            </a:xfrm>
            <a:prstGeom prst="ellipse">
              <a:avLst/>
            </a:prstGeom>
            <a:solidFill>
              <a:srgbClr val="993366"/>
            </a:solidFill>
            <a:ln w="9525" cap="rnd" cmpd="sng" algn="ctr">
              <a:solidFill>
                <a:srgbClr val="9933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FF8914A-FB4D-D2D3-061C-555F622515DF}"/>
                </a:ext>
              </a:extLst>
            </p:cNvPr>
            <p:cNvSpPr/>
            <p:nvPr/>
          </p:nvSpPr>
          <p:spPr>
            <a:xfrm>
              <a:off x="7230120" y="2090301"/>
              <a:ext cx="228600" cy="228600"/>
            </a:xfrm>
            <a:prstGeom prst="ellipse">
              <a:avLst/>
            </a:prstGeom>
            <a:solidFill>
              <a:srgbClr val="002060"/>
            </a:solidFill>
            <a:ln w="9525" cap="rnd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6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C4C1C3CA-D1CD-9612-2317-B6E76EB7ECC1}"/>
                </a:ext>
              </a:extLst>
            </p:cNvPr>
            <p:cNvSpPr/>
            <p:nvPr/>
          </p:nvSpPr>
          <p:spPr>
            <a:xfrm>
              <a:off x="8700435" y="2057281"/>
              <a:ext cx="1019011" cy="294640"/>
            </a:xfrm>
            <a:prstGeom prst="roundRect">
              <a:avLst>
                <a:gd name="adj" fmla="val 3003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Alig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088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yeaczDEGuE3q8Fsqg8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3OUavSl2N_IYbdzLxo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yeaczDEGuE3q8Fsqg8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r3WuBBQ8uQ6aFsQoLdn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3OUavSl2N_IYbdzLx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ESD Master">
  <a:themeElements>
    <a:clrScheme name="Custom 221">
      <a:dk1>
        <a:srgbClr val="000000"/>
      </a:dk1>
      <a:lt1>
        <a:srgbClr val="FFFFFF"/>
      </a:lt1>
      <a:dk2>
        <a:srgbClr val="720000"/>
      </a:dk2>
      <a:lt2>
        <a:srgbClr val="F2F2F2"/>
      </a:lt2>
      <a:accent1>
        <a:srgbClr val="CC0000"/>
      </a:accent1>
      <a:accent2>
        <a:srgbClr val="ED707F"/>
      </a:accent2>
      <a:accent3>
        <a:srgbClr val="F3A0AA"/>
      </a:accent3>
      <a:accent4>
        <a:srgbClr val="999999"/>
      </a:accent4>
      <a:accent5>
        <a:srgbClr val="BFBFBF"/>
      </a:accent5>
      <a:accent6>
        <a:srgbClr val="D9D9D9"/>
      </a:accent6>
      <a:hlink>
        <a:srgbClr val="CC0000"/>
      </a:hlink>
      <a:folHlink>
        <a:srgbClr val="7F7F7F"/>
      </a:folHlink>
    </a:clrScheme>
    <a:fontScheme name="Custom 5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600" dirty="0" err="1" smtClean="0">
            <a:solidFill>
              <a:srgbClr val="FFFFFF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dirty="0" err="1" smtClean="0">
            <a:solidFill>
              <a:schemeClr val="tx1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Target.pptx" id="{ABEBB201-BCAC-48BD-B6BE-2412249FED4F}" vid="{97EB7EE3-B2F4-4DBC-98F5-8C38BBB14B8B}"/>
    </a:ext>
  </a:extLst>
</a:theme>
</file>

<file path=ppt/theme/theme2.xml><?xml version="1.0" encoding="utf-8"?>
<a:theme xmlns:a="http://schemas.openxmlformats.org/drawingml/2006/main" name="1_ESD Master">
  <a:themeElements>
    <a:clrScheme name="Custom 221">
      <a:dk1>
        <a:srgbClr val="000000"/>
      </a:dk1>
      <a:lt1>
        <a:srgbClr val="FFFFFF"/>
      </a:lt1>
      <a:dk2>
        <a:srgbClr val="720000"/>
      </a:dk2>
      <a:lt2>
        <a:srgbClr val="F2F2F2"/>
      </a:lt2>
      <a:accent1>
        <a:srgbClr val="CC0000"/>
      </a:accent1>
      <a:accent2>
        <a:srgbClr val="ED707F"/>
      </a:accent2>
      <a:accent3>
        <a:srgbClr val="F3A0AA"/>
      </a:accent3>
      <a:accent4>
        <a:srgbClr val="999999"/>
      </a:accent4>
      <a:accent5>
        <a:srgbClr val="BFBFBF"/>
      </a:accent5>
      <a:accent6>
        <a:srgbClr val="D9D9D9"/>
      </a:accent6>
      <a:hlink>
        <a:srgbClr val="CC0000"/>
      </a:hlink>
      <a:folHlink>
        <a:srgbClr val="7F7F7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600" dirty="0" err="1" smtClean="0">
            <a:solidFill>
              <a:srgbClr val="FFFFFF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Blank Slides">
  <a:themeElements>
    <a:clrScheme name="Target plus">
      <a:dk1>
        <a:srgbClr val="212121"/>
      </a:dk1>
      <a:lt1>
        <a:srgbClr val="FFFFFF"/>
      </a:lt1>
      <a:dk2>
        <a:srgbClr val="333333"/>
      </a:dk2>
      <a:lt2>
        <a:srgbClr val="505050"/>
      </a:lt2>
      <a:accent1>
        <a:srgbClr val="AB0000"/>
      </a:accent1>
      <a:accent2>
        <a:srgbClr val="CC0000"/>
      </a:accent2>
      <a:accent3>
        <a:srgbClr val="E60000"/>
      </a:accent3>
      <a:accent4>
        <a:srgbClr val="DA573E"/>
      </a:accent4>
      <a:accent5>
        <a:srgbClr val="E07763"/>
      </a:accent5>
      <a:accent6>
        <a:srgbClr val="D7C7B1"/>
      </a:accent6>
      <a:hlink>
        <a:srgbClr val="E6D9CB"/>
      </a:hlink>
      <a:folHlink>
        <a:srgbClr val="F2EAE3"/>
      </a:folHlink>
    </a:clrScheme>
    <a:fontScheme name="Helvetica for Target">
      <a:majorFont>
        <a:latin typeface="Helvetica for Target light"/>
        <a:ea typeface=""/>
        <a:cs typeface=""/>
      </a:majorFont>
      <a:minorFont>
        <a:latin typeface="Helvetica for Targe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2_ESD Master">
  <a:themeElements>
    <a:clrScheme name="Custom 221">
      <a:dk1>
        <a:srgbClr val="000000"/>
      </a:dk1>
      <a:lt1>
        <a:srgbClr val="FFFFFF"/>
      </a:lt1>
      <a:dk2>
        <a:srgbClr val="720000"/>
      </a:dk2>
      <a:lt2>
        <a:srgbClr val="F2F2F2"/>
      </a:lt2>
      <a:accent1>
        <a:srgbClr val="CC0000"/>
      </a:accent1>
      <a:accent2>
        <a:srgbClr val="ED707F"/>
      </a:accent2>
      <a:accent3>
        <a:srgbClr val="F3A0AA"/>
      </a:accent3>
      <a:accent4>
        <a:srgbClr val="999999"/>
      </a:accent4>
      <a:accent5>
        <a:srgbClr val="BFBFBF"/>
      </a:accent5>
      <a:accent6>
        <a:srgbClr val="D9D9D9"/>
      </a:accent6>
      <a:hlink>
        <a:srgbClr val="CC0000"/>
      </a:hlink>
      <a:folHlink>
        <a:srgbClr val="7F7F7F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600" dirty="0" err="1" smtClean="0">
            <a:solidFill>
              <a:srgbClr val="FFFFFF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anking xmlns="255005c3-91e7-42e2-b2a9-bc1f8600abf3" xsi:nil="true"/>
    <DateTemplateentered xmlns="255005c3-91e7-42e2-b2a9-bc1f8600abf3" xsi:nil="true"/>
    <lcf76f155ced4ddcb4097134ff3c332f xmlns="255005c3-91e7-42e2-b2a9-bc1f8600abf3">
      <Terms xmlns="http://schemas.microsoft.com/office/infopath/2007/PartnerControls"/>
    </lcf76f155ced4ddcb4097134ff3c332f>
    <TaxCatchAll xmlns="68268d67-a67e-42ae-9b62-aca14d1dab45" xsi:nil="true"/>
    <Datecreated xmlns="255005c3-91e7-42e2-b2a9-bc1f8600abf3" xsi:nil="true"/>
    <Team xmlns="255005c3-91e7-42e2-b2a9-bc1f8600abf3" xsi:nil="true"/>
    <Notes0 xmlns="255005c3-91e7-42e2-b2a9-bc1f8600abf3" xsi:nil="true"/>
    <DateInvoiceCreated xmlns="255005c3-91e7-42e2-b2a9-bc1f8600abf3" xsi:nil="true"/>
    <_Flow_SignoffStatus xmlns="255005c3-91e7-42e2-b2a9-bc1f8600abf3" xsi:nil="true"/>
    <SharedWithUsers xmlns="68268d67-a67e-42ae-9b62-aca14d1dab45">
      <UserInfo>
        <DisplayName>Margot.Slamkowski</DisplayName>
        <AccountId>20</AccountId>
        <AccountType/>
      </UserInfo>
      <UserInfo>
        <DisplayName>Shannon.Bittner</DisplayName>
        <AccountId>25597</AccountId>
        <AccountType/>
      </UserInfo>
      <UserInfo>
        <DisplayName>Jennifer.MacMenamin</DisplayName>
        <AccountId>1030</AccountId>
        <AccountType/>
      </UserInfo>
      <UserInfo>
        <DisplayName>Jamie.Mielke</DisplayName>
        <AccountId>24479</AccountId>
        <AccountType/>
      </UserInfo>
      <UserInfo>
        <DisplayName>Andrew.Rudge</DisplayName>
        <AccountId>1528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AD4BEEAC3C4542A35EBBC19372CF23" ma:contentTypeVersion="28" ma:contentTypeDescription="Create a new document." ma:contentTypeScope="" ma:versionID="5931566ecc8f40f7a7ca05f8a71ef9dd">
  <xsd:schema xmlns:xsd="http://www.w3.org/2001/XMLSchema" xmlns:xs="http://www.w3.org/2001/XMLSchema" xmlns:p="http://schemas.microsoft.com/office/2006/metadata/properties" xmlns:ns2="255005c3-91e7-42e2-b2a9-bc1f8600abf3" xmlns:ns3="68268d67-a67e-42ae-9b62-aca14d1dab45" targetNamespace="http://schemas.microsoft.com/office/2006/metadata/properties" ma:root="true" ma:fieldsID="642f604e4f174fb07c12677b868abe86" ns2:_="" ns3:_="">
    <xsd:import namespace="255005c3-91e7-42e2-b2a9-bc1f8600abf3"/>
    <xsd:import namespace="68268d67-a67e-42ae-9b62-aca14d1dab45"/>
    <xsd:element name="properties">
      <xsd:complexType>
        <xsd:sequence>
          <xsd:element name="documentManagement">
            <xsd:complexType>
              <xsd:all>
                <xsd:element ref="ns2:Notes0" minOccurs="0"/>
                <xsd:element ref="ns2:_Flow_SignoffStatus" minOccurs="0"/>
                <xsd:element ref="ns2:Datecreated" minOccurs="0"/>
                <xsd:element ref="ns2:Team" minOccurs="0"/>
                <xsd:element ref="ns2:Ranking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DateTemplateentered" minOccurs="0"/>
                <xsd:element ref="ns2:DateInvoiceCreated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5005c3-91e7-42e2-b2a9-bc1f8600abf3" elementFormDefault="qualified">
    <xsd:import namespace="http://schemas.microsoft.com/office/2006/documentManagement/types"/>
    <xsd:import namespace="http://schemas.microsoft.com/office/infopath/2007/PartnerControls"/>
    <xsd:element name="Notes0" ma:index="2" nillable="true" ma:displayName="Notes" ma:format="Dropdown" ma:internalName="Notes0" ma:readOnly="false">
      <xsd:simpleType>
        <xsd:restriction base="dms:Text">
          <xsd:maxLength value="255"/>
        </xsd:restriction>
      </xsd:simpleType>
    </xsd:element>
    <xsd:element name="_Flow_SignoffStatus" ma:index="3" nillable="true" ma:displayName="Sign-off status" ma:internalName="_x0024_Resources_x003a_core_x002c_Signoff_Status_x003b_" ma:readOnly="false">
      <xsd:simpleType>
        <xsd:restriction base="dms:Text"/>
      </xsd:simpleType>
    </xsd:element>
    <xsd:element name="Datecreated" ma:index="4" nillable="true" ma:displayName="Date created" ma:format="DateOnly" ma:internalName="Datecreated" ma:readOnly="false">
      <xsd:simpleType>
        <xsd:restriction base="dms:DateTime"/>
      </xsd:simpleType>
    </xsd:element>
    <xsd:element name="Team" ma:index="5" nillable="true" ma:displayName="Team " ma:format="Dropdown" ma:internalName="Team" ma:readOnly="false">
      <xsd:simpleType>
        <xsd:restriction base="dms:Text">
          <xsd:maxLength value="255"/>
        </xsd:restriction>
      </xsd:simpleType>
    </xsd:element>
    <xsd:element name="Ranking" ma:index="6" nillable="true" ma:displayName="Ranking " ma:format="Dropdown" ma:internalName="Ranking" ma:readOnly="false" ma:percentage="FALSE">
      <xsd:simpleType>
        <xsd:restriction base="dms:Number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hidden="true" ma:internalName="MediaServiceAutoTags" ma:readOnly="true">
      <xsd:simpleType>
        <xsd:restriction base="dms:Text"/>
      </xsd:simpleType>
    </xsd:element>
    <xsd:element name="MediaServiceOCR" ma:index="13" nillable="true" ma:displayName="MediaServiceOCR" ma:hidden="true" ma:internalName="MediaServiceOCR" ma:readOnly="true">
      <xsd:simpleType>
        <xsd:restriction base="dms:Note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hidden="true" ma:internalName="MediaServiceKeyPoints" ma:readOnly="true">
      <xsd:simpleType>
        <xsd:restriction base="dms:Note"/>
      </xsd:simpleType>
    </xsd:element>
    <xsd:element name="MediaServiceLocation" ma:index="22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5" nillable="true" ma:displayName="Length (seconds)" ma:hidden="true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c1efadb4-afc5-4cc6-8b8c-2b1d29ec77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9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DateTemplateentered" ma:index="30" nillable="true" ma:displayName="Date Template entered" ma:description="This is the date of when the template in entered for Receivables to generate Invoice" ma:format="DateOnly" ma:internalName="DateTemplateentered">
      <xsd:simpleType>
        <xsd:restriction base="dms:DateTime"/>
      </xsd:simpleType>
    </xsd:element>
    <xsd:element name="DateInvoiceCreated" ma:index="31" nillable="true" ma:displayName="Date Invoice Created" ma:description="This is the date when the completed invoice is entered and ready to send to partners" ma:format="DateOnly" ma:internalName="DateInvoiceCreated">
      <xsd:simpleType>
        <xsd:restriction base="dms:DateTime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268d67-a67e-42ae-9b62-aca14d1dab4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hidden="true" ma:internalName="SharedWithDetails" ma:readOnly="true">
      <xsd:simpleType>
        <xsd:restriction base="dms:Note"/>
      </xsd:simpleType>
    </xsd:element>
    <xsd:element name="TaxCatchAll" ma:index="28" nillable="true" ma:displayName="Taxonomy Catch All Column" ma:hidden="true" ma:list="{1b9e7ef3-8bb9-4183-8140-8bf08d1869ba}" ma:internalName="TaxCatchAll" ma:readOnly="false" ma:showField="CatchAllData" ma:web="68268d67-a67e-42ae-9b62-aca14d1dab4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75C9E9-847B-4CF9-A5E8-90273543B2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3573D2-9E4A-4F43-8BAA-1365D756DFC1}">
  <ds:schemaRefs>
    <ds:schemaRef ds:uri="http://purl.org/dc/dcmitype/"/>
    <ds:schemaRef ds:uri="http://purl.org/dc/terms/"/>
    <ds:schemaRef ds:uri="http://purl.org/dc/elements/1.1/"/>
    <ds:schemaRef ds:uri="68268d67-a67e-42ae-9b62-aca14d1dab45"/>
    <ds:schemaRef ds:uri="http://schemas.openxmlformats.org/package/2006/metadata/core-properties"/>
    <ds:schemaRef ds:uri="http://schemas.microsoft.com/office/infopath/2007/PartnerControls"/>
    <ds:schemaRef ds:uri="255005c3-91e7-42e2-b2a9-bc1f8600abf3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E53A717-ED95-4D08-92F7-A21961D6BA92}">
  <ds:schemaRefs>
    <ds:schemaRef ds:uri="255005c3-91e7-42e2-b2a9-bc1f8600abf3"/>
    <ds:schemaRef ds:uri="68268d67-a67e-42ae-9b62-aca14d1dab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8</TotalTime>
  <Words>219</Words>
  <Application>Microsoft Office PowerPoint</Application>
  <PresentationFormat>Widescreen</PresentationFormat>
  <Paragraphs>4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ptos</vt:lpstr>
      <vt:lpstr>Aptos Display</vt:lpstr>
      <vt:lpstr>Arial</vt:lpstr>
      <vt:lpstr>Calibri</vt:lpstr>
      <vt:lpstr>Calibri Light</vt:lpstr>
      <vt:lpstr>Century Gothic</vt:lpstr>
      <vt:lpstr>Helvetica for Target Light</vt:lpstr>
      <vt:lpstr>Helvetica Light</vt:lpstr>
      <vt:lpstr>Trebuchet MS</vt:lpstr>
      <vt:lpstr>ESD Master</vt:lpstr>
      <vt:lpstr>1_ESD Master</vt:lpstr>
      <vt:lpstr>Blank Slides</vt:lpstr>
      <vt:lpstr>2_ESD Master</vt:lpstr>
      <vt:lpstr>think-cell Slide</vt:lpstr>
      <vt:lpstr>PowerPoint Presentation</vt:lpstr>
    </vt:vector>
  </TitlesOfParts>
  <Company>Targe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ather.L.Williams</dc:creator>
  <cp:lastModifiedBy>Heather.L.Williams</cp:lastModifiedBy>
  <cp:revision>28</cp:revision>
  <dcterms:created xsi:type="dcterms:W3CDTF">2023-12-11T20:33:23Z</dcterms:created>
  <dcterms:modified xsi:type="dcterms:W3CDTF">2025-03-22T18:4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AD4BEEAC3C4542A35EBBC19372CF23</vt:lpwstr>
  </property>
  <property fmtid="{D5CDD505-2E9C-101B-9397-08002B2CF9AE}" pid="3" name="MediaServiceImageTags">
    <vt:lpwstr/>
  </property>
</Properties>
</file>